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97" r:id="rId1"/>
  </p:sldMasterIdLst>
  <p:notesMasterIdLst>
    <p:notesMasterId r:id="rId6"/>
  </p:notesMasterIdLst>
  <p:handoutMasterIdLst>
    <p:handoutMasterId r:id="rId7"/>
  </p:handoutMasterIdLst>
  <p:sldIdLst>
    <p:sldId id="2147476594" r:id="rId2"/>
    <p:sldId id="2147476595" r:id="rId3"/>
    <p:sldId id="2147476596" r:id="rId4"/>
    <p:sldId id="2141412427" r:id="rId5"/>
  </p:sldIdLst>
  <p:sldSz cx="13442950" cy="7561263"/>
  <p:notesSz cx="6858000" cy="9144000"/>
  <p:defaultTextStyle>
    <a:defPPr>
      <a:defRPr lang="en-US"/>
    </a:defPPr>
    <a:lvl1pPr marL="0" algn="l" defTabSz="1008074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36" algn="l" defTabSz="1008074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074" algn="l" defTabSz="1008074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10" algn="l" defTabSz="1008074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147" algn="l" defTabSz="1008074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184" algn="l" defTabSz="1008074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221" algn="l" defTabSz="1008074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257" algn="l" defTabSz="1008074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294" algn="l" defTabSz="1008074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40" userDrawn="1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lierl, Tobias" initials="FT" lastIdx="1" clrIdx="0">
    <p:extLst>
      <p:ext uri="{19B8F6BF-5375-455C-9EA6-DF929625EA0E}">
        <p15:presenceInfo xmlns:p15="http://schemas.microsoft.com/office/powerpoint/2012/main" userId="S-1-5-21-1263144968-1679174555-2076119496-7641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DCDC"/>
    <a:srgbClr val="2997FF"/>
    <a:srgbClr val="015CB9"/>
    <a:srgbClr val="00233D"/>
    <a:srgbClr val="B7C9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778" autoAdjust="0"/>
    <p:restoredTop sz="97478" autoAdjust="0"/>
  </p:normalViewPr>
  <p:slideViewPr>
    <p:cSldViewPr snapToGrid="0" showGuides="1">
      <p:cViewPr varScale="1">
        <p:scale>
          <a:sx n="60" d="100"/>
          <a:sy n="60" d="100"/>
        </p:scale>
        <p:origin x="952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90" d="100"/>
        <a:sy n="90" d="100"/>
      </p:scale>
      <p:origin x="0" y="-1836"/>
    </p:cViewPr>
  </p:sorterViewPr>
  <p:notesViewPr>
    <p:cSldViewPr snapToGrid="0" showGuides="1">
      <p:cViewPr varScale="1">
        <p:scale>
          <a:sx n="120" d="100"/>
          <a:sy n="120" d="100"/>
        </p:scale>
        <p:origin x="7602" y="120"/>
      </p:cViewPr>
      <p:guideLst>
        <p:guide orient="horz" pos="34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D7669F-0C77-4BA6-98F5-79FCC78D3522}" type="datetimeFigureOut">
              <a:rPr lang="en-GB" smtClean="0"/>
              <a:t>13/08/2024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A405FE-0488-411F-BCE2-868BEBFFD3B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64378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CBF961-98B6-4BA1-A05A-F5F2A673F896}" type="datetimeFigureOut">
              <a:rPr lang="en-GB" smtClean="0"/>
              <a:t>13/08/2024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A4D8F7-74B6-4FA5-B478-307D44CBCE3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99753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08074" rtl="0" eaLnBrk="1" latinLnBrk="0" hangingPunct="1">
      <a:defRPr sz="1323" kern="1200">
        <a:solidFill>
          <a:schemeClr val="tx1"/>
        </a:solidFill>
        <a:latin typeface="+mn-lt"/>
        <a:ea typeface="+mn-ea"/>
        <a:cs typeface="+mn-cs"/>
      </a:defRPr>
    </a:lvl1pPr>
    <a:lvl2pPr marL="504036" algn="l" defTabSz="1008074" rtl="0" eaLnBrk="1" latinLnBrk="0" hangingPunct="1">
      <a:defRPr sz="1323" kern="1200">
        <a:solidFill>
          <a:schemeClr val="tx1"/>
        </a:solidFill>
        <a:latin typeface="+mn-lt"/>
        <a:ea typeface="+mn-ea"/>
        <a:cs typeface="+mn-cs"/>
      </a:defRPr>
    </a:lvl2pPr>
    <a:lvl3pPr marL="1008074" algn="l" defTabSz="1008074" rtl="0" eaLnBrk="1" latinLnBrk="0" hangingPunct="1">
      <a:defRPr sz="1323" kern="1200">
        <a:solidFill>
          <a:schemeClr val="tx1"/>
        </a:solidFill>
        <a:latin typeface="+mn-lt"/>
        <a:ea typeface="+mn-ea"/>
        <a:cs typeface="+mn-cs"/>
      </a:defRPr>
    </a:lvl3pPr>
    <a:lvl4pPr marL="1512110" algn="l" defTabSz="1008074" rtl="0" eaLnBrk="1" latinLnBrk="0" hangingPunct="1">
      <a:defRPr sz="1323" kern="1200">
        <a:solidFill>
          <a:schemeClr val="tx1"/>
        </a:solidFill>
        <a:latin typeface="+mn-lt"/>
        <a:ea typeface="+mn-ea"/>
        <a:cs typeface="+mn-cs"/>
      </a:defRPr>
    </a:lvl4pPr>
    <a:lvl5pPr marL="2016147" algn="l" defTabSz="1008074" rtl="0" eaLnBrk="1" latinLnBrk="0" hangingPunct="1">
      <a:defRPr sz="1323" kern="1200">
        <a:solidFill>
          <a:schemeClr val="tx1"/>
        </a:solidFill>
        <a:latin typeface="+mn-lt"/>
        <a:ea typeface="+mn-ea"/>
        <a:cs typeface="+mn-cs"/>
      </a:defRPr>
    </a:lvl5pPr>
    <a:lvl6pPr marL="2520184" algn="l" defTabSz="1008074" rtl="0" eaLnBrk="1" latinLnBrk="0" hangingPunct="1">
      <a:defRPr sz="1323" kern="1200">
        <a:solidFill>
          <a:schemeClr val="tx1"/>
        </a:solidFill>
        <a:latin typeface="+mn-lt"/>
        <a:ea typeface="+mn-ea"/>
        <a:cs typeface="+mn-cs"/>
      </a:defRPr>
    </a:lvl6pPr>
    <a:lvl7pPr marL="3024221" algn="l" defTabSz="1008074" rtl="0" eaLnBrk="1" latinLnBrk="0" hangingPunct="1">
      <a:defRPr sz="1323" kern="1200">
        <a:solidFill>
          <a:schemeClr val="tx1"/>
        </a:solidFill>
        <a:latin typeface="+mn-lt"/>
        <a:ea typeface="+mn-ea"/>
        <a:cs typeface="+mn-cs"/>
      </a:defRPr>
    </a:lvl7pPr>
    <a:lvl8pPr marL="3528257" algn="l" defTabSz="1008074" rtl="0" eaLnBrk="1" latinLnBrk="0" hangingPunct="1">
      <a:defRPr sz="1323" kern="1200">
        <a:solidFill>
          <a:schemeClr val="tx1"/>
        </a:solidFill>
        <a:latin typeface="+mn-lt"/>
        <a:ea typeface="+mn-ea"/>
        <a:cs typeface="+mn-cs"/>
      </a:defRPr>
    </a:lvl8pPr>
    <a:lvl9pPr marL="4032294" algn="l" defTabSz="1008074" rtl="0" eaLnBrk="1" latinLnBrk="0" hangingPunct="1">
      <a:defRPr sz="132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53975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A4D8F7-74B6-4FA5-B478-307D44CBCE3D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58465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Bildplatzhalter 4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0" y="1"/>
            <a:ext cx="13442950" cy="7561262"/>
          </a:xfrm>
          <a:prstGeom prst="rect">
            <a:avLst/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a pictu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419518" y="2630350"/>
            <a:ext cx="1120587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6000" b="1" i="0" cap="none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over Headline 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434508" y="3506091"/>
            <a:ext cx="514122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2800" b="0" i="0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r>
              <a:rPr lang="en-GB" noProof="0" dirty="0"/>
              <a:t> / </a:t>
            </a:r>
            <a:r>
              <a:rPr lang="en-GB" noProof="0" dirty="0" err="1"/>
              <a:t>Bodycopy</a:t>
            </a:r>
            <a:endParaRPr lang="en-GB" noProof="0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26999" y="3637985"/>
            <a:ext cx="215444" cy="337660"/>
          </a:xfrm>
          <a:prstGeom prst="rect">
            <a:avLst/>
          </a:prstGeom>
        </p:spPr>
        <p:txBody>
          <a:bodyPr vert="vert270" wrap="square" lIns="0" tIns="0" rIns="0" bIns="0" anchor="t" anchorCtr="0">
            <a:spAutoFit/>
          </a:bodyPr>
          <a:lstStyle>
            <a:lvl1pPr algn="r">
              <a:lnSpc>
                <a:spcPct val="100000"/>
              </a:lnSpc>
              <a:defRPr sz="1400" b="1" i="0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 noProof="0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995999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Content-option_left-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4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9464564" y="0"/>
            <a:ext cx="3978386" cy="7561261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de-DE" dirty="0"/>
              <a:t>▲</a:t>
            </a:r>
            <a:br>
              <a:rPr lang="de-DE" dirty="0"/>
            </a:br>
            <a:r>
              <a:rPr lang="de-DE" dirty="0"/>
              <a:t>Add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946900" y="2"/>
            <a:ext cx="2677358" cy="7561261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de-DE" dirty="0"/>
              <a:t>▲</a:t>
            </a:r>
            <a:br>
              <a:rPr lang="de-DE" dirty="0"/>
            </a:br>
            <a:r>
              <a:rPr lang="de-DE" dirty="0"/>
              <a:t>Add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73859" y="2379106"/>
            <a:ext cx="59309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 dirty="0"/>
              <a:t>Content Headline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582886" y="1047312"/>
            <a:ext cx="5913164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6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Teaser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592459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Headline 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6C0FC9F7-2C22-4B02-B39C-6996E6EF115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 bwMode="gray">
          <a:xfrm>
            <a:off x="565150" y="2797636"/>
            <a:ext cx="59309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</p:spTree>
    <p:extLst>
      <p:ext uri="{BB962C8B-B14F-4D97-AF65-F5344CB8AC3E}">
        <p14:creationId xmlns:p14="http://schemas.microsoft.com/office/powerpoint/2010/main" val="2808974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Content-option_left-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6150024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</a:p>
        </p:txBody>
      </p:sp>
      <p:sp>
        <p:nvSpPr>
          <p:cNvPr id="25" name="Textplatzhalter 5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946900" y="477022"/>
            <a:ext cx="266502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6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45" name="Bildplatzhalter 4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6721475" y="4285613"/>
            <a:ext cx="3095625" cy="2520000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46" name="Bildplatzhalter 4"/>
          <p:cNvSpPr>
            <a:spLocks noGrp="1"/>
          </p:cNvSpPr>
          <p:nvPr>
            <p:ph type="pic" sz="quarter" idx="37" hasCustomPrompt="1"/>
          </p:nvPr>
        </p:nvSpPr>
        <p:spPr bwMode="gray">
          <a:xfrm>
            <a:off x="9817100" y="1476375"/>
            <a:ext cx="3060701" cy="2520000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47" name="Bildplatzhalter 4"/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565150" y="4285613"/>
            <a:ext cx="3060700" cy="2520000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48" name="Bildplatzhalter 4"/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3625850" y="1476375"/>
            <a:ext cx="3095625" cy="2520000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49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565150" y="1485084"/>
            <a:ext cx="30607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50" name="Textplatzhalter 5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565150" y="1912323"/>
            <a:ext cx="30607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marL="0" indent="0" algn="ctr">
              <a:lnSpc>
                <a:spcPct val="100000"/>
              </a:lnSpc>
              <a:buFont typeface="Courier New" panose="02070309020205020404" pitchFamily="49" charset="0"/>
              <a:buNone/>
              <a:defRPr sz="1400" b="0" i="0" baseline="0">
                <a:solidFill>
                  <a:schemeClr val="accent3"/>
                </a:solidFill>
                <a:latin typeface="+mn-lt"/>
              </a:defRPr>
            </a:lvl1pPr>
            <a:lvl2pPr marL="216005" indent="0">
              <a:buFont typeface="Courier New" panose="02070309020205020404" pitchFamily="49" charset="0"/>
              <a:buNone/>
              <a:defRPr sz="1400">
                <a:solidFill>
                  <a:schemeClr val="accent3"/>
                </a:solidFill>
                <a:latin typeface="+mn-lt"/>
              </a:defRPr>
            </a:lvl2pPr>
          </a:lstStyle>
          <a:p>
            <a:r>
              <a:rPr lang="en-GB" noProof="0" dirty="0"/>
              <a:t>Content Layer 1</a:t>
            </a:r>
          </a:p>
        </p:txBody>
      </p:sp>
      <p:sp>
        <p:nvSpPr>
          <p:cNvPr id="51" name="Textplatzhalter 5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25850" y="4285613"/>
            <a:ext cx="3095625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53" name="Textplatzhalter 5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723034" y="1485084"/>
            <a:ext cx="3094065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55" name="Textplatzhalter 5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9783736" y="4285613"/>
            <a:ext cx="3094065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7235D4D3-A166-4D09-9A4A-62D968E8F1FB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3643312" y="4704143"/>
            <a:ext cx="30607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marL="0" indent="0" algn="ctr">
              <a:lnSpc>
                <a:spcPct val="100000"/>
              </a:lnSpc>
              <a:buFont typeface="Courier New" panose="02070309020205020404" pitchFamily="49" charset="0"/>
              <a:buNone/>
              <a:defRPr sz="1400" b="0" i="0" baseline="0">
                <a:solidFill>
                  <a:schemeClr val="accent3"/>
                </a:solidFill>
                <a:latin typeface="+mn-lt"/>
              </a:defRPr>
            </a:lvl1pPr>
            <a:lvl2pPr marL="501755" indent="-285750">
              <a:buFont typeface="Courier New" panose="02070309020205020404" pitchFamily="49" charset="0"/>
              <a:buChar char="o"/>
              <a:defRPr sz="1400">
                <a:solidFill>
                  <a:schemeClr val="accent3"/>
                </a:solidFill>
                <a:latin typeface="+mn-lt"/>
              </a:defRPr>
            </a:lvl2pPr>
          </a:lstStyle>
          <a:p>
            <a:r>
              <a:rPr lang="en-GB" noProof="0" dirty="0"/>
              <a:t>Content Layer 1</a:t>
            </a:r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B0C057DF-AD3A-4DB1-8997-BE239EAC179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721474" y="1912323"/>
            <a:ext cx="3095625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marL="0" indent="0" algn="ctr">
              <a:lnSpc>
                <a:spcPct val="100000"/>
              </a:lnSpc>
              <a:buFont typeface="Courier New" panose="02070309020205020404" pitchFamily="49" charset="0"/>
              <a:buNone/>
              <a:defRPr sz="1400" b="0" i="0" baseline="0">
                <a:solidFill>
                  <a:schemeClr val="accent3"/>
                </a:solidFill>
                <a:latin typeface="+mn-lt"/>
              </a:defRPr>
            </a:lvl1pPr>
            <a:lvl2pPr marL="501755" indent="-285750">
              <a:buFont typeface="Courier New" panose="02070309020205020404" pitchFamily="49" charset="0"/>
              <a:buChar char="o"/>
              <a:defRPr sz="1400">
                <a:solidFill>
                  <a:schemeClr val="accent3"/>
                </a:solidFill>
                <a:latin typeface="+mn-lt"/>
              </a:defRPr>
            </a:lvl2pPr>
          </a:lstStyle>
          <a:p>
            <a:r>
              <a:rPr lang="en-GB" noProof="0" dirty="0"/>
              <a:t>Content Layer 1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A868BCEA-E4DE-4F85-9B95-D3B0D134809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9800418" y="4720265"/>
            <a:ext cx="30607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marL="0" indent="0" algn="ctr">
              <a:lnSpc>
                <a:spcPct val="100000"/>
              </a:lnSpc>
              <a:buFont typeface="Courier New" panose="02070309020205020404" pitchFamily="49" charset="0"/>
              <a:buNone/>
              <a:defRPr sz="1400" b="0" i="0" baseline="0">
                <a:solidFill>
                  <a:schemeClr val="accent3"/>
                </a:solidFill>
                <a:latin typeface="+mn-lt"/>
              </a:defRPr>
            </a:lvl1pPr>
            <a:lvl2pPr marL="501755" indent="-285750">
              <a:buFont typeface="Courier New" panose="02070309020205020404" pitchFamily="49" charset="0"/>
              <a:buChar char="o"/>
              <a:defRPr sz="1400">
                <a:solidFill>
                  <a:schemeClr val="accent3"/>
                </a:solidFill>
                <a:latin typeface="+mn-lt"/>
              </a:defRPr>
            </a:lvl2pPr>
          </a:lstStyle>
          <a:p>
            <a:r>
              <a:rPr lang="en-GB" noProof="0" dirty="0"/>
              <a:t>Content Layer 1</a:t>
            </a:r>
          </a:p>
        </p:txBody>
      </p:sp>
    </p:spTree>
    <p:extLst>
      <p:ext uri="{BB962C8B-B14F-4D97-AF65-F5344CB8AC3E}">
        <p14:creationId xmlns:p14="http://schemas.microsoft.com/office/powerpoint/2010/main" val="4687764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Content-option_left-V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305439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</a:p>
        </p:txBody>
      </p:sp>
      <p:sp>
        <p:nvSpPr>
          <p:cNvPr id="45" name="Bildplatzhalter 4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6721475" y="1476375"/>
            <a:ext cx="3095625" cy="2520000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46" name="Bildplatzhalter 4"/>
          <p:cNvSpPr>
            <a:spLocks noGrp="1"/>
          </p:cNvSpPr>
          <p:nvPr>
            <p:ph type="pic" sz="quarter" idx="37" hasCustomPrompt="1"/>
          </p:nvPr>
        </p:nvSpPr>
        <p:spPr bwMode="gray">
          <a:xfrm>
            <a:off x="9817100" y="4285613"/>
            <a:ext cx="3060701" cy="2520000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48" name="Bildplatzhalter 4"/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3625850" y="4285613"/>
            <a:ext cx="3095625" cy="2520000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51" name="Textplatzhalter 5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25850" y="1485084"/>
            <a:ext cx="3095625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53" name="Textplatzhalter 5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9818660" y="1485084"/>
            <a:ext cx="3094065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55" name="Textplatzhalter 5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725243" y="4285613"/>
            <a:ext cx="3094065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71451" y="1054602"/>
            <a:ext cx="305439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6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17AD2FA7-88B6-405D-BCEF-0D794E790A8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43312" y="1903614"/>
            <a:ext cx="30607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marL="0" indent="0" algn="ctr">
              <a:lnSpc>
                <a:spcPct val="100000"/>
              </a:lnSpc>
              <a:buFont typeface="Courier New" panose="02070309020205020404" pitchFamily="49" charset="0"/>
              <a:buNone/>
              <a:defRPr sz="1400" b="0" i="0" baseline="0">
                <a:solidFill>
                  <a:schemeClr val="accent3"/>
                </a:solidFill>
                <a:latin typeface="+mn-lt"/>
              </a:defRPr>
            </a:lvl1pPr>
            <a:lvl2pPr marL="501755" indent="-285750">
              <a:buFont typeface="Courier New" panose="02070309020205020404" pitchFamily="49" charset="0"/>
              <a:buChar char="o"/>
              <a:defRPr sz="1400">
                <a:solidFill>
                  <a:schemeClr val="accent3"/>
                </a:solidFill>
                <a:latin typeface="+mn-lt"/>
              </a:defRPr>
            </a:lvl2pPr>
          </a:lstStyle>
          <a:p>
            <a:r>
              <a:rPr lang="en-GB" noProof="0" dirty="0"/>
              <a:t>Content Layer 1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14A6723B-5D38-4C65-BAF0-E990E0C1CEE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720372" y="4704143"/>
            <a:ext cx="30607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marL="0" indent="0" algn="ctr">
              <a:lnSpc>
                <a:spcPct val="100000"/>
              </a:lnSpc>
              <a:buFont typeface="Courier New" panose="02070309020205020404" pitchFamily="49" charset="0"/>
              <a:buNone/>
              <a:defRPr sz="1400" b="0" i="0" baseline="0">
                <a:solidFill>
                  <a:schemeClr val="accent3"/>
                </a:solidFill>
                <a:latin typeface="+mn-lt"/>
              </a:defRPr>
            </a:lvl1pPr>
            <a:lvl2pPr marL="501755" indent="-285750">
              <a:buFont typeface="Courier New" panose="02070309020205020404" pitchFamily="49" charset="0"/>
              <a:buChar char="o"/>
              <a:defRPr sz="1400">
                <a:solidFill>
                  <a:schemeClr val="accent3"/>
                </a:solidFill>
                <a:latin typeface="+mn-lt"/>
              </a:defRPr>
            </a:lvl2pPr>
          </a:lstStyle>
          <a:p>
            <a:r>
              <a:rPr lang="en-GB" noProof="0" dirty="0"/>
              <a:t>Content Layer 1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E2B12536-63BC-4F99-8641-180E89A29A9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9834563" y="1903614"/>
            <a:ext cx="30607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marL="0" indent="0" algn="ctr">
              <a:lnSpc>
                <a:spcPct val="100000"/>
              </a:lnSpc>
              <a:buFont typeface="Courier New" panose="02070309020205020404" pitchFamily="49" charset="0"/>
              <a:buNone/>
              <a:defRPr sz="1400" b="0" i="0" baseline="0">
                <a:solidFill>
                  <a:schemeClr val="accent3"/>
                </a:solidFill>
                <a:latin typeface="+mn-lt"/>
              </a:defRPr>
            </a:lvl1pPr>
            <a:lvl2pPr marL="501755" indent="-285750">
              <a:buFont typeface="Courier New" panose="02070309020205020404" pitchFamily="49" charset="0"/>
              <a:buChar char="o"/>
              <a:defRPr sz="1400">
                <a:solidFill>
                  <a:schemeClr val="accent3"/>
                </a:solidFill>
                <a:latin typeface="+mn-lt"/>
              </a:defRPr>
            </a:lvl2pPr>
          </a:lstStyle>
          <a:p>
            <a:r>
              <a:rPr lang="en-GB" noProof="0" dirty="0"/>
              <a:t>Content Layer 1</a:t>
            </a:r>
          </a:p>
        </p:txBody>
      </p:sp>
    </p:spTree>
    <p:extLst>
      <p:ext uri="{BB962C8B-B14F-4D97-AF65-F5344CB8AC3E}">
        <p14:creationId xmlns:p14="http://schemas.microsoft.com/office/powerpoint/2010/main" val="1376034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Content-option_left-V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4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-95248" y="2186586"/>
            <a:ext cx="2316163" cy="1129606"/>
          </a:xfrm>
          <a:prstGeom prst="roundRect">
            <a:avLst>
              <a:gd name="adj" fmla="val 3665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10058400" y="156411"/>
            <a:ext cx="3296653" cy="5053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1043056"/>
            <a:endParaRPr lang="en-GB" sz="1600" noProof="0" dirty="0">
              <a:solidFill>
                <a:srgbClr val="FFFFFF"/>
              </a:solidFill>
            </a:endParaRPr>
          </a:p>
        </p:txBody>
      </p:sp>
      <p:sp>
        <p:nvSpPr>
          <p:cNvPr id="11" name="Bildplatzhalter 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-95249" y="3720836"/>
            <a:ext cx="2316163" cy="1129606"/>
          </a:xfrm>
          <a:prstGeom prst="roundRect">
            <a:avLst>
              <a:gd name="adj" fmla="val 3665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-95250" y="5250385"/>
            <a:ext cx="2316163" cy="1129606"/>
          </a:xfrm>
          <a:prstGeom prst="roundRect">
            <a:avLst>
              <a:gd name="adj" fmla="val 3665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26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38199" y="479154"/>
            <a:ext cx="1178718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</a:p>
        </p:txBody>
      </p:sp>
      <p:sp>
        <p:nvSpPr>
          <p:cNvPr id="28" name="Textplatzhalter 5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838200" y="1050377"/>
            <a:ext cx="1178718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6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29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2633300" y="2186586"/>
            <a:ext cx="2503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31" name="Textplatzhalter 5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33299" y="3720836"/>
            <a:ext cx="2503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33" name="Textplatzhalter 5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2633299" y="5233294"/>
            <a:ext cx="2503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25" name="Textplatzhalter 5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305800" y="2203968"/>
            <a:ext cx="457200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20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BFF437E8-BB74-49CA-A0AD-F5113572742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633300" y="2605116"/>
            <a:ext cx="250385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C5D08214-41B0-49DD-AFDE-ED0393DCBE3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2633300" y="4147722"/>
            <a:ext cx="250385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E571FC83-138A-4D14-B007-7C0365317AE4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2633300" y="5652500"/>
            <a:ext cx="250385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9D880B8D-0910-43F1-9CCA-3C9A655729A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305800" y="2632168"/>
            <a:ext cx="457200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20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</p:spTree>
    <p:extLst>
      <p:ext uri="{BB962C8B-B14F-4D97-AF65-F5344CB8AC3E}">
        <p14:creationId xmlns:p14="http://schemas.microsoft.com/office/powerpoint/2010/main" val="24660913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Content-option_left-V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0" y="477022"/>
            <a:ext cx="456569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</a:p>
        </p:txBody>
      </p:sp>
      <p:sp>
        <p:nvSpPr>
          <p:cNvPr id="47" name="Bildplatzhalter 4"/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6946900" y="1"/>
            <a:ext cx="6496050" cy="7561262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bIns="252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49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571450" y="1050174"/>
            <a:ext cx="456569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6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571451" y="2385391"/>
            <a:ext cx="305439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137150" y="2385391"/>
            <a:ext cx="3168650" cy="2521680"/>
          </a:xfrm>
          <a:prstGeom prst="roundRect">
            <a:avLst>
              <a:gd name="adj" fmla="val 6249"/>
            </a:avLst>
          </a:prstGeom>
          <a:solidFill>
            <a:schemeClr val="tx2"/>
          </a:solidFill>
        </p:spPr>
        <p:txBody>
          <a:bodyPr wrap="square" lIns="360000" tIns="360000" rIns="360000" bIns="360000">
            <a:spAutoFit/>
          </a:bodyPr>
          <a:lstStyle>
            <a:lvl1pPr algn="l">
              <a:lnSpc>
                <a:spcPct val="100000"/>
              </a:lnSpc>
              <a:defRPr sz="2800" b="1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ontent Box could be used for Description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5A5FC2A8-E4A2-4AD8-B972-767E3D12B4C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565150" y="2803921"/>
            <a:ext cx="30607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</p:spTree>
    <p:extLst>
      <p:ext uri="{BB962C8B-B14F-4D97-AF65-F5344CB8AC3E}">
        <p14:creationId xmlns:p14="http://schemas.microsoft.com/office/powerpoint/2010/main" val="4247945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Content-option_left-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456569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</a:p>
        </p:txBody>
      </p:sp>
      <p:sp>
        <p:nvSpPr>
          <p:cNvPr id="47" name="Bildplatzhalter 4"/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5813010" y="-1"/>
            <a:ext cx="4004089" cy="7561263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tIns="0" bIns="288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49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571451" y="1053149"/>
            <a:ext cx="456569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6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571451" y="2790885"/>
            <a:ext cx="456569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25" name="Textplatzhalter 5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492959" y="2790885"/>
            <a:ext cx="2384841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72D4FB53-9297-42EB-B2DD-350407EA618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565150" y="3209415"/>
            <a:ext cx="45720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B2E21B56-4763-42BD-9D42-2F19D6BACC1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10492959" y="3209415"/>
            <a:ext cx="238484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</p:spTree>
    <p:extLst>
      <p:ext uri="{BB962C8B-B14F-4D97-AF65-F5344CB8AC3E}">
        <p14:creationId xmlns:p14="http://schemas.microsoft.com/office/powerpoint/2010/main" val="5848607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Content_basic_midd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1230634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65150" y="2091307"/>
            <a:ext cx="59309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73858" y="1049440"/>
            <a:ext cx="1230394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100000"/>
              </a:lnSpc>
              <a:defRPr sz="16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946900" y="2091307"/>
            <a:ext cx="59309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565149" y="6682502"/>
            <a:ext cx="593090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8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Legal / Source Descriptor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242F496F-6443-45B8-A0E8-76659861A52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565150" y="2509837"/>
            <a:ext cx="59309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marL="0" indent="0" algn="ctr">
              <a:lnSpc>
                <a:spcPct val="100000"/>
              </a:lnSpc>
              <a:buFont typeface="Courier New" panose="02070309020205020404" pitchFamily="49" charset="0"/>
              <a:buNone/>
              <a:defRPr sz="1400" b="0" i="0" baseline="0">
                <a:solidFill>
                  <a:schemeClr val="accent3"/>
                </a:solidFill>
                <a:latin typeface="+mn-lt"/>
              </a:defRPr>
            </a:lvl1pPr>
            <a:lvl2pPr marL="216005" indent="0" algn="ctr">
              <a:buFont typeface="Courier New" panose="02070309020205020404" pitchFamily="49" charset="0"/>
              <a:buNone/>
              <a:defRPr sz="1400">
                <a:solidFill>
                  <a:schemeClr val="accent3"/>
                </a:solidFill>
                <a:latin typeface="+mn-lt"/>
              </a:defRPr>
            </a:lvl2pPr>
          </a:lstStyle>
          <a:p>
            <a:r>
              <a:rPr lang="en-GB" noProof="0" dirty="0"/>
              <a:t>Content Layer 1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A3D321BB-3401-43B6-B832-977C492B35A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946900" y="2510629"/>
            <a:ext cx="59309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marL="0" indent="0" algn="ctr">
              <a:lnSpc>
                <a:spcPct val="100000"/>
              </a:lnSpc>
              <a:buFont typeface="Courier New" panose="02070309020205020404" pitchFamily="49" charset="0"/>
              <a:buNone/>
              <a:defRPr sz="1400" b="0" i="0" baseline="0">
                <a:solidFill>
                  <a:schemeClr val="accent3"/>
                </a:solidFill>
                <a:latin typeface="+mn-lt"/>
              </a:defRPr>
            </a:lvl1pPr>
            <a:lvl2pPr marL="216005" indent="0" algn="ctr">
              <a:buFont typeface="Courier New" panose="02070309020205020404" pitchFamily="49" charset="0"/>
              <a:buNone/>
              <a:defRPr sz="1400">
                <a:solidFill>
                  <a:schemeClr val="accent3"/>
                </a:solidFill>
                <a:latin typeface="+mn-lt"/>
              </a:defRPr>
            </a:lvl2pPr>
          </a:lstStyle>
          <a:p>
            <a:r>
              <a:rPr lang="en-GB" noProof="0" dirty="0"/>
              <a:t>Content Layer 1</a:t>
            </a:r>
          </a:p>
        </p:txBody>
      </p:sp>
    </p:spTree>
    <p:extLst>
      <p:ext uri="{BB962C8B-B14F-4D97-AF65-F5344CB8AC3E}">
        <p14:creationId xmlns:p14="http://schemas.microsoft.com/office/powerpoint/2010/main" val="26174079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Content-option_middle-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0" y="0"/>
            <a:ext cx="13442950" cy="7561263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38199" y="804545"/>
            <a:ext cx="1178718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Section Headline 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8200" y="1946995"/>
            <a:ext cx="1178718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100000"/>
              </a:lnSpc>
              <a:defRPr sz="20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838200" y="2365525"/>
            <a:ext cx="1178718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100000"/>
              </a:lnSpc>
              <a:defRPr sz="20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</a:p>
        </p:txBody>
      </p:sp>
    </p:spTree>
    <p:extLst>
      <p:ext uri="{BB962C8B-B14F-4D97-AF65-F5344CB8AC3E}">
        <p14:creationId xmlns:p14="http://schemas.microsoft.com/office/powerpoint/2010/main" val="2780576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Content-option_middle-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68313"/>
            <a:ext cx="1230634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</a:p>
        </p:txBody>
      </p:sp>
      <p:sp>
        <p:nvSpPr>
          <p:cNvPr id="45" name="Bildplatzhalter 4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9097800" y="3410970"/>
            <a:ext cx="3780000" cy="1574498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216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47" name="Bildplatzhalter 4"/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565150" y="3410970"/>
            <a:ext cx="3780000" cy="1574498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216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48" name="Bildplatzhalter 4"/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4831475" y="3410970"/>
            <a:ext cx="3780000" cy="1574498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216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49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565150" y="209770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50" name="Textplatzhalter 5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565150" y="251623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831475" y="209770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831475" y="251623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9097800" y="209770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9097800" y="251623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565150" y="5416198"/>
            <a:ext cx="3780000" cy="123111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8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Legal / Source Descriptor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831475" y="5416198"/>
            <a:ext cx="3780000" cy="123111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8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Legal / Source Descriptor</a:t>
            </a:r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9097800" y="5416198"/>
            <a:ext cx="3780000" cy="123111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8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Legal / Source Descriptor</a:t>
            </a:r>
          </a:p>
        </p:txBody>
      </p:sp>
    </p:spTree>
    <p:extLst>
      <p:ext uri="{BB962C8B-B14F-4D97-AF65-F5344CB8AC3E}">
        <p14:creationId xmlns:p14="http://schemas.microsoft.com/office/powerpoint/2010/main" val="20327238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Content-option_middle-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1230634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</a:p>
        </p:txBody>
      </p:sp>
      <p:sp>
        <p:nvSpPr>
          <p:cNvPr id="45" name="Bildplatzhalter 4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9097800" y="5986765"/>
            <a:ext cx="3959388" cy="1662972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216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47" name="Bildplatzhalter 4"/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385763" y="5986765"/>
            <a:ext cx="3959387" cy="1662972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216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48" name="Bildplatzhalter 4"/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4831475" y="5986765"/>
            <a:ext cx="3780000" cy="1662972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216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49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565150" y="209770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50" name="Textplatzhalter 5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565150" y="251623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831475" y="209770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831475" y="251623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9097800" y="209770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9097800" y="251623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65150" y="1052730"/>
            <a:ext cx="1231265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100000"/>
              </a:lnSpc>
              <a:defRPr sz="16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787956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itl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Bildplatzhalter 4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0" y="0"/>
            <a:ext cx="13442950" cy="7561263"/>
          </a:xfrm>
          <a:prstGeom prst="rect">
            <a:avLst/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de-DE" dirty="0"/>
              <a:t>▲</a:t>
            </a:r>
            <a:br>
              <a:rPr lang="de-DE" dirty="0"/>
            </a:br>
            <a:r>
              <a:rPr lang="de-DE" dirty="0"/>
              <a:t>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419518" y="2630350"/>
            <a:ext cx="1120587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6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over Headline 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434508" y="3506091"/>
            <a:ext cx="513326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28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r>
              <a:rPr lang="en-GB" noProof="0" dirty="0"/>
              <a:t> / </a:t>
            </a:r>
            <a:r>
              <a:rPr lang="en-GB" noProof="0" dirty="0" err="1"/>
              <a:t>Bodycopy</a:t>
            </a:r>
            <a:endParaRPr lang="en-GB" noProof="0" dirty="0"/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26" hasCustomPrompt="1"/>
          </p:nvPr>
        </p:nvSpPr>
        <p:spPr>
          <a:xfrm>
            <a:off x="492199" y="3637985"/>
            <a:ext cx="280077" cy="280077"/>
          </a:xfrm>
          <a:prstGeom prst="rect">
            <a:avLst/>
          </a:prstGeom>
        </p:spPr>
        <p:txBody>
          <a:bodyPr vert="vert270" wrap="square" lIns="0" tIns="0" rIns="0" bIns="0">
            <a:spAutoFit/>
          </a:bodyPr>
          <a:lstStyle>
            <a:lvl1pPr algn="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6657926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Content-option_middle-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1230634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65150" y="3118013"/>
            <a:ext cx="3780000" cy="1191514"/>
          </a:xfrm>
          <a:prstGeom prst="roundRect">
            <a:avLst>
              <a:gd name="adj" fmla="val 6249"/>
            </a:avLst>
          </a:prstGeom>
          <a:solidFill>
            <a:schemeClr val="tx2"/>
          </a:solidFill>
        </p:spPr>
        <p:txBody>
          <a:bodyPr wrap="square" lIns="360000" tIns="360000" rIns="360000" bIns="360000">
            <a:spAutoFit/>
          </a:bodyPr>
          <a:lstStyle>
            <a:lvl1pPr algn="ctr">
              <a:lnSpc>
                <a:spcPct val="100000"/>
              </a:lnSpc>
              <a:defRPr sz="14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ontent Box could be used for Description</a:t>
            </a:r>
          </a:p>
        </p:txBody>
      </p:sp>
      <p:sp>
        <p:nvSpPr>
          <p:cNvPr id="24" name="Textplatzhalter 5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4831475" y="3118013"/>
            <a:ext cx="3780000" cy="1191514"/>
          </a:xfrm>
          <a:prstGeom prst="roundRect">
            <a:avLst>
              <a:gd name="adj" fmla="val 6249"/>
            </a:avLst>
          </a:prstGeom>
          <a:solidFill>
            <a:schemeClr val="tx2"/>
          </a:solidFill>
        </p:spPr>
        <p:txBody>
          <a:bodyPr wrap="square" lIns="360000" tIns="360000" rIns="360000" bIns="360000">
            <a:spAutoFit/>
          </a:bodyPr>
          <a:lstStyle>
            <a:lvl1pPr algn="ctr">
              <a:lnSpc>
                <a:spcPct val="100000"/>
              </a:lnSpc>
              <a:defRPr sz="14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ontent Box could be used for Description</a:t>
            </a:r>
          </a:p>
        </p:txBody>
      </p:sp>
      <p:sp>
        <p:nvSpPr>
          <p:cNvPr id="25" name="Textplatzhalter 5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9097800" y="3118013"/>
            <a:ext cx="3780000" cy="1191514"/>
          </a:xfrm>
          <a:prstGeom prst="roundRect">
            <a:avLst>
              <a:gd name="adj" fmla="val 6249"/>
            </a:avLst>
          </a:prstGeom>
          <a:solidFill>
            <a:schemeClr val="tx2"/>
          </a:solidFill>
        </p:spPr>
        <p:txBody>
          <a:bodyPr wrap="square" lIns="360000" tIns="360000" rIns="360000" bIns="360000">
            <a:spAutoFit/>
          </a:bodyPr>
          <a:lstStyle>
            <a:lvl1pPr algn="ctr">
              <a:lnSpc>
                <a:spcPct val="100000"/>
              </a:lnSpc>
              <a:defRPr sz="14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ontent Box could be used for Description</a:t>
            </a:r>
          </a:p>
        </p:txBody>
      </p:sp>
      <p:sp>
        <p:nvSpPr>
          <p:cNvPr id="26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65150" y="1052730"/>
            <a:ext cx="1231265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100000"/>
              </a:lnSpc>
              <a:defRPr sz="16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33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565150" y="209770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34" name="Textplatzhalter 5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831475" y="209770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35" name="Textplatzhalter 5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9097800" y="209770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</p:spTree>
    <p:extLst>
      <p:ext uri="{BB962C8B-B14F-4D97-AF65-F5344CB8AC3E}">
        <p14:creationId xmlns:p14="http://schemas.microsoft.com/office/powerpoint/2010/main" val="41117165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Content-option_middle-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1230634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</a:p>
        </p:txBody>
      </p:sp>
      <p:sp>
        <p:nvSpPr>
          <p:cNvPr id="26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65150" y="1052729"/>
            <a:ext cx="1231265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100000"/>
              </a:lnSpc>
              <a:defRPr sz="16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10" name="Bildplatzhalter 4"/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0" y="1857234"/>
            <a:ext cx="13442950" cy="2209244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bIns="216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565150" y="4632877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565150" y="5051407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831475" y="4632877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831475" y="5051407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9097800" y="4632877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9097800" y="5051407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</a:p>
        </p:txBody>
      </p:sp>
    </p:spTree>
    <p:extLst>
      <p:ext uri="{BB962C8B-B14F-4D97-AF65-F5344CB8AC3E}">
        <p14:creationId xmlns:p14="http://schemas.microsoft.com/office/powerpoint/2010/main" val="13750562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Content-option_middle-V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1" y="-1"/>
            <a:ext cx="5137150" cy="7561263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38200" y="1296988"/>
            <a:ext cx="1178718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Overlay 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27985" y="2315683"/>
            <a:ext cx="3377815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927985" y="2734213"/>
            <a:ext cx="3377815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981873" y="2185981"/>
            <a:ext cx="3643516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6000" b="1" i="0" baseline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GB" noProof="0" dirty="0"/>
              <a:t>+ XX%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9817100" y="3122281"/>
            <a:ext cx="297504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4000" b="1" i="0" baseline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GB" noProof="0" dirty="0"/>
              <a:t>+ XX%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2150523" y="2826546"/>
            <a:ext cx="727277" cy="12311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8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Description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12150523" y="3522181"/>
            <a:ext cx="727277" cy="12311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8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Description</a:t>
            </a:r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0B071889-681E-42D6-9FD0-FDC6B537D0F8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9817100" y="4408151"/>
            <a:ext cx="30607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</p:spTree>
    <p:extLst>
      <p:ext uri="{BB962C8B-B14F-4D97-AF65-F5344CB8AC3E}">
        <p14:creationId xmlns:p14="http://schemas.microsoft.com/office/powerpoint/2010/main" val="32333447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Content_basic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1230634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65150" y="2091307"/>
            <a:ext cx="59309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65150" y="2509837"/>
            <a:ext cx="59309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73858" y="1049440"/>
            <a:ext cx="1230394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6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946900" y="2091307"/>
            <a:ext cx="59309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946900" y="2509837"/>
            <a:ext cx="59309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565149" y="6682502"/>
            <a:ext cx="593090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8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Legal / Source Descriptor</a:t>
            </a:r>
          </a:p>
        </p:txBody>
      </p:sp>
    </p:spTree>
    <p:extLst>
      <p:ext uri="{BB962C8B-B14F-4D97-AF65-F5344CB8AC3E}">
        <p14:creationId xmlns:p14="http://schemas.microsoft.com/office/powerpoint/2010/main" val="31418691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Content-option_right-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4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3826213" y="2"/>
            <a:ext cx="2677358" cy="7561261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1" y="0"/>
            <a:ext cx="3978386" cy="7561261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946901" y="477022"/>
            <a:ext cx="593090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46901" y="1487008"/>
            <a:ext cx="593089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946901" y="1905538"/>
            <a:ext cx="593089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</a:p>
        </p:txBody>
      </p:sp>
    </p:spTree>
    <p:extLst>
      <p:ext uri="{BB962C8B-B14F-4D97-AF65-F5344CB8AC3E}">
        <p14:creationId xmlns:p14="http://schemas.microsoft.com/office/powerpoint/2010/main" val="36242996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Content-Teaser-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0" y="0"/>
            <a:ext cx="13442950" cy="7561263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38199" y="804545"/>
            <a:ext cx="11787189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6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Teaser Headline 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8200" y="1904941"/>
            <a:ext cx="1178718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20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9BCD966B-F5D4-4E6D-910E-7D0633BA12A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38200" y="2323471"/>
            <a:ext cx="11787188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20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</p:spTree>
    <p:extLst>
      <p:ext uri="{BB962C8B-B14F-4D97-AF65-F5344CB8AC3E}">
        <p14:creationId xmlns:p14="http://schemas.microsoft.com/office/powerpoint/2010/main" val="30936495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Content-Teaser-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1485084"/>
            <a:ext cx="4565699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6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Teaser Headline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565150" y="3085834"/>
            <a:ext cx="45720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28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/>
              <a:t>Teaser </a:t>
            </a:r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24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5558607" y="1485084"/>
            <a:ext cx="7066781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16B93D5D-37FD-4468-A955-A0A60E00F1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5558606" y="1924880"/>
            <a:ext cx="706678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</p:spTree>
    <p:extLst>
      <p:ext uri="{BB962C8B-B14F-4D97-AF65-F5344CB8AC3E}">
        <p14:creationId xmlns:p14="http://schemas.microsoft.com/office/powerpoint/2010/main" val="33971159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Content-Teaser-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6372955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80000"/>
              </a:lnSpc>
              <a:defRPr sz="6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Teaser Headline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565150" y="2077772"/>
            <a:ext cx="638175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28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/>
              <a:t>Teaser </a:t>
            </a:r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24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8305800" y="2077772"/>
            <a:ext cx="431958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-135172" y="3228230"/>
            <a:ext cx="4678708" cy="4460681"/>
          </a:xfrm>
          <a:prstGeom prst="roundRect">
            <a:avLst>
              <a:gd name="adj" fmla="val 999"/>
            </a:avLst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4732282" y="3228230"/>
            <a:ext cx="2214618" cy="4460681"/>
          </a:xfrm>
          <a:prstGeom prst="roundRect">
            <a:avLst>
              <a:gd name="adj" fmla="val 999"/>
            </a:avLst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8397D3EF-C8D7-4068-8698-1A35B72AC7A1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305801" y="2496302"/>
            <a:ext cx="431958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</p:spTree>
    <p:extLst>
      <p:ext uri="{BB962C8B-B14F-4D97-AF65-F5344CB8AC3E}">
        <p14:creationId xmlns:p14="http://schemas.microsoft.com/office/powerpoint/2010/main" val="16484421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Content-Teaser-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-1" y="1"/>
            <a:ext cx="6721475" cy="7561262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137150" y="288925"/>
            <a:ext cx="7488238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80000"/>
              </a:lnSpc>
              <a:defRPr sz="6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Teaser Headline</a:t>
            </a:r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8305800" y="1476375"/>
            <a:ext cx="431958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4AEA71B-ABF7-46CB-8B3A-13BEBA0D222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305801" y="1894905"/>
            <a:ext cx="431958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</p:spTree>
    <p:extLst>
      <p:ext uri="{BB962C8B-B14F-4D97-AF65-F5344CB8AC3E}">
        <p14:creationId xmlns:p14="http://schemas.microsoft.com/office/powerpoint/2010/main" val="30296707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Content-Teaser-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4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-95248" y="2378179"/>
            <a:ext cx="3721099" cy="1129606"/>
          </a:xfrm>
          <a:prstGeom prst="roundRect">
            <a:avLst>
              <a:gd name="adj" fmla="val 3665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10058400" y="156411"/>
            <a:ext cx="3296653" cy="5053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1043056"/>
            <a:endParaRPr lang="en-GB" sz="1600" noProof="0" dirty="0">
              <a:solidFill>
                <a:srgbClr val="FFFFFF"/>
              </a:solidFill>
            </a:endParaRPr>
          </a:p>
        </p:txBody>
      </p:sp>
      <p:sp>
        <p:nvSpPr>
          <p:cNvPr id="11" name="Bildplatzhalter 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-95249" y="3912429"/>
            <a:ext cx="3721099" cy="1129606"/>
          </a:xfrm>
          <a:prstGeom prst="roundRect">
            <a:avLst>
              <a:gd name="adj" fmla="val 3665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-95250" y="5441978"/>
            <a:ext cx="3721099" cy="1129606"/>
          </a:xfrm>
          <a:prstGeom prst="roundRect">
            <a:avLst>
              <a:gd name="adj" fmla="val 3665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14" name="Bildplatzhalt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9817101" y="2387580"/>
            <a:ext cx="3721099" cy="1129606"/>
          </a:xfrm>
          <a:prstGeom prst="roundRect">
            <a:avLst>
              <a:gd name="adj" fmla="val 3665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15" name="Bildplatzhalter 4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9817100" y="3917129"/>
            <a:ext cx="3721099" cy="1129606"/>
          </a:xfrm>
          <a:prstGeom prst="roundRect">
            <a:avLst>
              <a:gd name="adj" fmla="val 3665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16" name="Bildplatzhalter 4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9817099" y="5441978"/>
            <a:ext cx="3721099" cy="1129606"/>
          </a:xfrm>
          <a:prstGeom prst="roundRect">
            <a:avLst>
              <a:gd name="adj" fmla="val 3665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26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38199" y="470445"/>
            <a:ext cx="11787189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80000"/>
              </a:lnSpc>
              <a:defRPr sz="6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Teaser Headline </a:t>
            </a:r>
          </a:p>
        </p:txBody>
      </p:sp>
      <p:sp>
        <p:nvSpPr>
          <p:cNvPr id="28" name="Textplatzhalter 5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838200" y="1307888"/>
            <a:ext cx="1178718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100000"/>
              </a:lnSpc>
              <a:defRPr sz="28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/>
              <a:t>Teaser </a:t>
            </a:r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29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92201" y="2378179"/>
            <a:ext cx="2503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31" name="Textplatzhalter 5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992200" y="3912429"/>
            <a:ext cx="2503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33" name="Textplatzhalter 5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992200" y="5424887"/>
            <a:ext cx="2503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35" name="Textplatzhalter 5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960309" y="2378179"/>
            <a:ext cx="2503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36" name="Textplatzhalter 5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960309" y="2796709"/>
            <a:ext cx="2503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</a:p>
        </p:txBody>
      </p:sp>
      <p:sp>
        <p:nvSpPr>
          <p:cNvPr id="37" name="Textplatzhalter 5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960308" y="3912429"/>
            <a:ext cx="2503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38" name="Textplatzhalter 5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960308" y="4330959"/>
            <a:ext cx="2503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</a:p>
        </p:txBody>
      </p:sp>
      <p:sp>
        <p:nvSpPr>
          <p:cNvPr id="39" name="Textplatzhalter 5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960308" y="5424887"/>
            <a:ext cx="2503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40" name="Textplatzhalter 5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960308" y="5843417"/>
            <a:ext cx="2503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</a:p>
        </p:txBody>
      </p: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8F73EC7D-9589-4676-969D-CB898E92DB8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 bwMode="gray">
          <a:xfrm>
            <a:off x="3992200" y="2796709"/>
            <a:ext cx="250385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641F42B8-FA9A-4246-AA18-D3C7197A21B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 bwMode="gray">
          <a:xfrm>
            <a:off x="3978792" y="4318602"/>
            <a:ext cx="250385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  <p:sp>
        <p:nvSpPr>
          <p:cNvPr id="25" name="Textplatzhalter 5">
            <a:extLst>
              <a:ext uri="{FF2B5EF4-FFF2-40B4-BE49-F238E27FC236}">
                <a16:creationId xmlns:a16="http://schemas.microsoft.com/office/drawing/2014/main" id="{B323F187-9CDD-4FB7-BC09-4A614338978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 bwMode="gray">
          <a:xfrm>
            <a:off x="3978790" y="5852852"/>
            <a:ext cx="250385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</p:spTree>
    <p:extLst>
      <p:ext uri="{BB962C8B-B14F-4D97-AF65-F5344CB8AC3E}">
        <p14:creationId xmlns:p14="http://schemas.microsoft.com/office/powerpoint/2010/main" val="30302837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4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305800" y="0"/>
            <a:ext cx="5137150" cy="7561263"/>
          </a:xfrm>
          <a:prstGeom prst="rect">
            <a:avLst/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a picture</a:t>
            </a:r>
          </a:p>
        </p:txBody>
      </p:sp>
      <p:sp>
        <p:nvSpPr>
          <p:cNvPr id="3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6992227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</a:p>
        </p:txBody>
      </p:sp>
    </p:spTree>
    <p:extLst>
      <p:ext uri="{BB962C8B-B14F-4D97-AF65-F5344CB8AC3E}">
        <p14:creationId xmlns:p14="http://schemas.microsoft.com/office/powerpoint/2010/main" val="11225927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1_B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9902" y="0"/>
            <a:ext cx="13452852" cy="7561264"/>
          </a:xfrm>
          <a:prstGeom prst="rect">
            <a:avLst/>
          </a:prstGeom>
          <a:solidFill>
            <a:schemeClr val="accent5"/>
          </a:solidFill>
        </p:spPr>
        <p:txBody>
          <a:bodyPr bIns="324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de-DE" dirty="0"/>
              <a:t>▲</a:t>
            </a:r>
            <a:br>
              <a:rPr lang="de-DE" dirty="0"/>
            </a:br>
            <a:r>
              <a:rPr lang="de-DE" dirty="0"/>
              <a:t>Add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" name="Untertitel 2" hidden="1"/>
          <p:cNvSpPr>
            <a:spLocks noGrp="1"/>
          </p:cNvSpPr>
          <p:nvPr>
            <p:ph type="subTitle" idx="1" hasCustomPrompt="1"/>
          </p:nvPr>
        </p:nvSpPr>
        <p:spPr>
          <a:xfrm>
            <a:off x="3" y="9135"/>
            <a:ext cx="80669" cy="4571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rtl="0">
              <a:buNone/>
              <a:defRPr lang="de-DE" sz="100" b="0" i="0" u="none" strike="noStrike" baseline="0" smtClean="0">
                <a:solidFill>
                  <a:schemeClr val="bg1"/>
                </a:solidFill>
              </a:defRPr>
            </a:lvl1pPr>
            <a:lvl2pPr marL="521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2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rtl="0"/>
            <a:r>
              <a:rPr lang="de-DE" dirty="0" err="1"/>
              <a:t>Subtit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8683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3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4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305800" y="0"/>
            <a:ext cx="5137150" cy="7561263"/>
          </a:xfrm>
          <a:prstGeom prst="rect">
            <a:avLst/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a picture</a:t>
            </a:r>
          </a:p>
        </p:txBody>
      </p:sp>
      <p:sp>
        <p:nvSpPr>
          <p:cNvPr id="3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709161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</a:p>
        </p:txBody>
      </p:sp>
      <p:sp>
        <p:nvSpPr>
          <p:cNvPr id="4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73859" y="1487008"/>
            <a:ext cx="3377815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8149224" y="4602365"/>
            <a:ext cx="2908299" cy="212365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38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01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73859" y="1905538"/>
            <a:ext cx="3377815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</p:spTree>
    <p:extLst>
      <p:ext uri="{BB962C8B-B14F-4D97-AF65-F5344CB8AC3E}">
        <p14:creationId xmlns:p14="http://schemas.microsoft.com/office/powerpoint/2010/main" val="11692605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Content_basic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1230634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65150" y="2091307"/>
            <a:ext cx="59309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73858" y="1049440"/>
            <a:ext cx="1230394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6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946900" y="2091307"/>
            <a:ext cx="59309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565149" y="6682502"/>
            <a:ext cx="593090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8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Legal / Source Descriptor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2D513402-175E-4C92-9778-424601400BC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573859" y="2509837"/>
            <a:ext cx="59309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DA9465FC-E3FF-4F32-9DB8-0CE25218660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938191" y="2509837"/>
            <a:ext cx="59309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</p:spTree>
    <p:extLst>
      <p:ext uri="{BB962C8B-B14F-4D97-AF65-F5344CB8AC3E}">
        <p14:creationId xmlns:p14="http://schemas.microsoft.com/office/powerpoint/2010/main" val="3568834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_basic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1230634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73858" y="1049440"/>
            <a:ext cx="1230394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6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523614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Content-option_left-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423713" y="2902689"/>
            <a:ext cx="2665025" cy="4658572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180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7412108" y="2902689"/>
            <a:ext cx="2665025" cy="4658572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180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14" name="Bildplatzhalter 4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10400503" y="2902689"/>
            <a:ext cx="2665025" cy="4658572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180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1230634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65150" y="1607361"/>
            <a:ext cx="306070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20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423713" y="1614735"/>
            <a:ext cx="2665025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7412108" y="1607361"/>
            <a:ext cx="2665025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400503" y="1607361"/>
            <a:ext cx="2665025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52E3CFEE-C530-4CA5-9EA2-FA0080B6E33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573859" y="2025891"/>
            <a:ext cx="306070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20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2A25DD16-92DA-4E42-84BE-F66CE4EEC74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415347" y="2033265"/>
            <a:ext cx="267339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D8731642-EE0A-410C-9669-6FE7A503832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7412108" y="2025891"/>
            <a:ext cx="267339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CF500C2F-7100-43C9-B193-3FC94C08F7C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0383797" y="2025891"/>
            <a:ext cx="267339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</p:spTree>
    <p:extLst>
      <p:ext uri="{BB962C8B-B14F-4D97-AF65-F5344CB8AC3E}">
        <p14:creationId xmlns:p14="http://schemas.microsoft.com/office/powerpoint/2010/main" val="29643323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Content-option_left-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6983261" y="4510391"/>
            <a:ext cx="1620000" cy="1081204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9120531" y="4510391"/>
            <a:ext cx="1620000" cy="1081204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14" name="Bildplatzhalter 4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11257800" y="4510391"/>
            <a:ext cx="1620000" cy="1081204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1230634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595684" y="3093339"/>
            <a:ext cx="1620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0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595684" y="3379404"/>
            <a:ext cx="162000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>
              <a:lnSpc>
                <a:spcPct val="100000"/>
              </a:lnSpc>
              <a:buFontTx/>
              <a:buNone/>
              <a:defRPr sz="1000" b="0" i="0" baseline="0">
                <a:solidFill>
                  <a:schemeClr val="accent3"/>
                </a:solidFill>
                <a:latin typeface="+mn-lt"/>
              </a:defRPr>
            </a:lvl1pPr>
            <a:lvl2pPr marL="180000" indent="-180000">
              <a:buFontTx/>
              <a:buNone/>
              <a:defRPr sz="1000">
                <a:solidFill>
                  <a:schemeClr val="accent3"/>
                </a:solidFill>
                <a:latin typeface="+mn-lt"/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  <p:sp>
        <p:nvSpPr>
          <p:cNvPr id="24" name="Bildplatzhalter 4"/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571451" y="4510391"/>
            <a:ext cx="1620000" cy="1081204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25" name="Bildplatzhalt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2708721" y="4510391"/>
            <a:ext cx="1620000" cy="1081204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26" name="Bildplatzhalter 4"/>
          <p:cNvSpPr>
            <a:spLocks noGrp="1"/>
          </p:cNvSpPr>
          <p:nvPr>
            <p:ph type="pic" sz="quarter" idx="41" hasCustomPrompt="1"/>
          </p:nvPr>
        </p:nvSpPr>
        <p:spPr bwMode="gray">
          <a:xfrm>
            <a:off x="4845991" y="4510391"/>
            <a:ext cx="1620000" cy="1081204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27" name="Textplatzhalter 5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2708721" y="3093339"/>
            <a:ext cx="1620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0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29" name="Textplatzhalter 5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4845991" y="3093339"/>
            <a:ext cx="1620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0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31" name="Textplatzhalter 5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983261" y="3093339"/>
            <a:ext cx="1620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0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33" name="Textplatzhalter 5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9120531" y="3093339"/>
            <a:ext cx="1620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0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35" name="Textplatzhalter 5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229812" y="3093339"/>
            <a:ext cx="1620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0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37" name="Textplatzhalter 5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595684" y="1296988"/>
            <a:ext cx="590036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39" name="Textplatzhalter 5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6946900" y="1296988"/>
            <a:ext cx="590036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41" name="Bildplatzhalter 4"/>
          <p:cNvSpPr>
            <a:spLocks noGrp="1"/>
          </p:cNvSpPr>
          <p:nvPr>
            <p:ph type="pic" sz="quarter" idx="56" hasCustomPrompt="1"/>
          </p:nvPr>
        </p:nvSpPr>
        <p:spPr bwMode="gray">
          <a:xfrm>
            <a:off x="6976960" y="5706949"/>
            <a:ext cx="1620000" cy="1081204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42" name="Bildplatzhalter 4"/>
          <p:cNvSpPr>
            <a:spLocks noGrp="1"/>
          </p:cNvSpPr>
          <p:nvPr>
            <p:ph type="pic" sz="quarter" idx="57" hasCustomPrompt="1"/>
          </p:nvPr>
        </p:nvSpPr>
        <p:spPr bwMode="gray">
          <a:xfrm>
            <a:off x="9114230" y="5706949"/>
            <a:ext cx="1620000" cy="1081204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43" name="Bildplatzhalter 4"/>
          <p:cNvSpPr>
            <a:spLocks noGrp="1"/>
          </p:cNvSpPr>
          <p:nvPr>
            <p:ph type="pic" sz="quarter" idx="58" hasCustomPrompt="1"/>
          </p:nvPr>
        </p:nvSpPr>
        <p:spPr bwMode="gray">
          <a:xfrm>
            <a:off x="11251499" y="5706949"/>
            <a:ext cx="1620000" cy="1081204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44" name="Bildplatzhalter 4"/>
          <p:cNvSpPr>
            <a:spLocks noGrp="1"/>
          </p:cNvSpPr>
          <p:nvPr>
            <p:ph type="pic" sz="quarter" idx="59" hasCustomPrompt="1"/>
          </p:nvPr>
        </p:nvSpPr>
        <p:spPr bwMode="gray">
          <a:xfrm>
            <a:off x="565150" y="5706949"/>
            <a:ext cx="1620000" cy="1081204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45" name="Bildplatzhalter 4"/>
          <p:cNvSpPr>
            <a:spLocks noGrp="1"/>
          </p:cNvSpPr>
          <p:nvPr>
            <p:ph type="pic" sz="quarter" idx="60" hasCustomPrompt="1"/>
          </p:nvPr>
        </p:nvSpPr>
        <p:spPr bwMode="gray">
          <a:xfrm>
            <a:off x="2702420" y="5706949"/>
            <a:ext cx="1620000" cy="1081204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46" name="Bildplatzhalter 4"/>
          <p:cNvSpPr>
            <a:spLocks noGrp="1"/>
          </p:cNvSpPr>
          <p:nvPr>
            <p:ph type="pic" sz="quarter" idx="61" hasCustomPrompt="1"/>
          </p:nvPr>
        </p:nvSpPr>
        <p:spPr bwMode="gray">
          <a:xfrm>
            <a:off x="4839690" y="5706949"/>
            <a:ext cx="1620000" cy="1081204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48" name="Textplatzhalter 5">
            <a:extLst>
              <a:ext uri="{FF2B5EF4-FFF2-40B4-BE49-F238E27FC236}">
                <a16:creationId xmlns:a16="http://schemas.microsoft.com/office/drawing/2014/main" id="{F7373B30-2B6B-42CD-84DC-2E99E377379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 bwMode="gray">
          <a:xfrm>
            <a:off x="565150" y="1715518"/>
            <a:ext cx="59309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  <p:sp>
        <p:nvSpPr>
          <p:cNvPr id="49" name="Textplatzhalter 5">
            <a:extLst>
              <a:ext uri="{FF2B5EF4-FFF2-40B4-BE49-F238E27FC236}">
                <a16:creationId xmlns:a16="http://schemas.microsoft.com/office/drawing/2014/main" id="{FD72F21E-5BCC-4144-B626-02685EAD23A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 bwMode="gray">
          <a:xfrm>
            <a:off x="6958780" y="1712089"/>
            <a:ext cx="59309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  <p:sp>
        <p:nvSpPr>
          <p:cNvPr id="50" name="Textplatzhalter 5">
            <a:extLst>
              <a:ext uri="{FF2B5EF4-FFF2-40B4-BE49-F238E27FC236}">
                <a16:creationId xmlns:a16="http://schemas.microsoft.com/office/drawing/2014/main" id="{D4297F68-3F10-4006-8A5C-6060E689A56D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 bwMode="gray">
          <a:xfrm>
            <a:off x="2702420" y="3379404"/>
            <a:ext cx="162000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1000" b="0" i="0" baseline="0">
                <a:solidFill>
                  <a:schemeClr val="accent3"/>
                </a:solidFill>
                <a:latin typeface="+mn-lt"/>
              </a:defRPr>
            </a:lvl1pPr>
            <a:lvl2pPr marL="432010" indent="0">
              <a:buFontTx/>
              <a:buNone/>
              <a:defRPr sz="1000">
                <a:solidFill>
                  <a:schemeClr val="accent3"/>
                </a:solidFill>
                <a:latin typeface="+mn-lt"/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  <p:sp>
        <p:nvSpPr>
          <p:cNvPr id="51" name="Textplatzhalter 5">
            <a:extLst>
              <a:ext uri="{FF2B5EF4-FFF2-40B4-BE49-F238E27FC236}">
                <a16:creationId xmlns:a16="http://schemas.microsoft.com/office/drawing/2014/main" id="{2B49FC7E-CC4C-43A2-9B2C-B539A636869A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 bwMode="gray">
          <a:xfrm>
            <a:off x="4839690" y="3379404"/>
            <a:ext cx="162000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1000" b="0" i="0" baseline="0">
                <a:solidFill>
                  <a:schemeClr val="accent3"/>
                </a:solidFill>
                <a:latin typeface="+mn-lt"/>
              </a:defRPr>
            </a:lvl1pPr>
            <a:lvl2pPr marL="432010" indent="0">
              <a:buFontTx/>
              <a:buNone/>
              <a:defRPr sz="1000">
                <a:solidFill>
                  <a:schemeClr val="accent3"/>
                </a:solidFill>
                <a:latin typeface="+mn-lt"/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  <p:sp>
        <p:nvSpPr>
          <p:cNvPr id="52" name="Textplatzhalter 5">
            <a:extLst>
              <a:ext uri="{FF2B5EF4-FFF2-40B4-BE49-F238E27FC236}">
                <a16:creationId xmlns:a16="http://schemas.microsoft.com/office/drawing/2014/main" id="{C7A21A25-4A16-41CD-96B6-FF8805A4B847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 bwMode="gray">
          <a:xfrm>
            <a:off x="6976960" y="3391189"/>
            <a:ext cx="162000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1000" b="0" i="0" baseline="0">
                <a:solidFill>
                  <a:schemeClr val="accent3"/>
                </a:solidFill>
                <a:latin typeface="+mn-lt"/>
              </a:defRPr>
            </a:lvl1pPr>
            <a:lvl2pPr marL="432010" indent="0">
              <a:buFontTx/>
              <a:buNone/>
              <a:defRPr sz="1000">
                <a:solidFill>
                  <a:schemeClr val="accent3"/>
                </a:solidFill>
                <a:latin typeface="+mn-lt"/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  <p:sp>
        <p:nvSpPr>
          <p:cNvPr id="53" name="Textplatzhalter 5">
            <a:extLst>
              <a:ext uri="{FF2B5EF4-FFF2-40B4-BE49-F238E27FC236}">
                <a16:creationId xmlns:a16="http://schemas.microsoft.com/office/drawing/2014/main" id="{F33DFB80-3F1B-4D97-B47B-5D69CB81C310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 bwMode="gray">
          <a:xfrm>
            <a:off x="9109117" y="3402456"/>
            <a:ext cx="162000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1000" b="0" i="0" baseline="0">
                <a:solidFill>
                  <a:schemeClr val="accent3"/>
                </a:solidFill>
                <a:latin typeface="+mn-lt"/>
              </a:defRPr>
            </a:lvl1pPr>
            <a:lvl2pPr marL="432010" indent="0">
              <a:buFontTx/>
              <a:buNone/>
              <a:defRPr sz="1000">
                <a:solidFill>
                  <a:schemeClr val="accent3"/>
                </a:solidFill>
                <a:latin typeface="+mn-lt"/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  <p:sp>
        <p:nvSpPr>
          <p:cNvPr id="54" name="Textplatzhalter 5">
            <a:extLst>
              <a:ext uri="{FF2B5EF4-FFF2-40B4-BE49-F238E27FC236}">
                <a16:creationId xmlns:a16="http://schemas.microsoft.com/office/drawing/2014/main" id="{C780EDD6-4001-4C7B-812D-0FE4B67CE0B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11229812" y="3402456"/>
            <a:ext cx="162000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1000" b="0" i="0" baseline="0">
                <a:solidFill>
                  <a:schemeClr val="accent3"/>
                </a:solidFill>
                <a:latin typeface="+mn-lt"/>
              </a:defRPr>
            </a:lvl1pPr>
            <a:lvl2pPr marL="432010" indent="0">
              <a:buFontTx/>
              <a:buNone/>
              <a:defRPr sz="1000">
                <a:solidFill>
                  <a:schemeClr val="accent3"/>
                </a:solidFill>
                <a:latin typeface="+mn-lt"/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</p:spTree>
    <p:extLst>
      <p:ext uri="{BB962C8B-B14F-4D97-AF65-F5344CB8AC3E}">
        <p14:creationId xmlns:p14="http://schemas.microsoft.com/office/powerpoint/2010/main" val="19483451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Content-option_left-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5522912" y="0"/>
            <a:ext cx="2520000" cy="7561263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bIns="180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8222931" y="0"/>
            <a:ext cx="2520000" cy="7561263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bIns="180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14" name="Bildplatzhalter 4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10922950" y="0"/>
            <a:ext cx="2520000" cy="7561263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bIns="1800000" anchor="b" anchorCtr="0"/>
          <a:lstStyle>
            <a:lvl1pPr marL="0" marR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104289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456569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</a:p>
        </p:txBody>
      </p:sp>
      <p:sp>
        <p:nvSpPr>
          <p:cNvPr id="24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415940" y="2091307"/>
            <a:ext cx="372121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D15345D-DA95-4729-8FB4-DC2B3DD830F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 bwMode="gray">
          <a:xfrm>
            <a:off x="1415940" y="2509837"/>
            <a:ext cx="372121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1</a:t>
            </a:r>
          </a:p>
          <a:p>
            <a:pPr marL="717760" marR="0" lvl="1" indent="-285750" algn="l" defTabSz="10428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noProof="0" dirty="0"/>
              <a:t>Content layer 2</a:t>
            </a:r>
          </a:p>
        </p:txBody>
      </p:sp>
    </p:spTree>
    <p:extLst>
      <p:ext uri="{BB962C8B-B14F-4D97-AF65-F5344CB8AC3E}">
        <p14:creationId xmlns:p14="http://schemas.microsoft.com/office/powerpoint/2010/main" val="8513129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3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2"/>
            </p:custDataLst>
          </p:nvPr>
        </p:nvGraphicFramePr>
        <p:xfrm>
          <a:off x="2001" y="1595"/>
          <a:ext cx="199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338" imgH="338" progId="TCLayout.ActiveDocument.1">
                  <p:embed/>
                </p:oleObj>
              </mc:Choice>
              <mc:Fallback>
                <p:oleObj name="think-cell Folie" r:id="rId33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2001" y="1595"/>
                        <a:ext cx="199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extfeld 38"/>
          <p:cNvSpPr txBox="1"/>
          <p:nvPr userDrawn="1"/>
        </p:nvSpPr>
        <p:spPr bwMode="gray">
          <a:xfrm>
            <a:off x="11891043" y="7150478"/>
            <a:ext cx="987265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defTabSz="1043056">
              <a:spcBef>
                <a:spcPts val="300"/>
              </a:spcBef>
            </a:pPr>
            <a:fld id="{CCFED7E5-2E50-44E2-AE80-A409710B6CFB}" type="slidenum">
              <a:rPr lang="de-DE" sz="900" b="1" smtClean="0">
                <a:solidFill>
                  <a:schemeClr val="tx2"/>
                </a:solidFill>
              </a:rPr>
              <a:pPr algn="r" defTabSz="1043056">
                <a:spcBef>
                  <a:spcPts val="300"/>
                </a:spcBef>
              </a:pPr>
              <a:t>‹#›</a:t>
            </a:fld>
            <a:endParaRPr lang="de-DE" sz="900" b="1" dirty="0">
              <a:solidFill>
                <a:schemeClr val="tx2"/>
              </a:solidFill>
            </a:endParaRP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5E3D1577-27B8-41DA-A0B2-7BC44D46A429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565153" y="7158424"/>
            <a:ext cx="1864834" cy="129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275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68" r:id="rId2"/>
    <p:sldLayoutId id="2147483944" r:id="rId3"/>
    <p:sldLayoutId id="2147483970" r:id="rId4"/>
    <p:sldLayoutId id="2147483958" r:id="rId5"/>
    <p:sldLayoutId id="2147483974" r:id="rId6"/>
    <p:sldLayoutId id="2147483947" r:id="rId7"/>
    <p:sldLayoutId id="2147483971" r:id="rId8"/>
    <p:sldLayoutId id="2147483961" r:id="rId9"/>
    <p:sldLayoutId id="2147483966" r:id="rId10"/>
    <p:sldLayoutId id="2147483954" r:id="rId11"/>
    <p:sldLayoutId id="2147483964" r:id="rId12"/>
    <p:sldLayoutId id="2147483967" r:id="rId13"/>
    <p:sldLayoutId id="2147483957" r:id="rId14"/>
    <p:sldLayoutId id="2147483956" r:id="rId15"/>
    <p:sldLayoutId id="2147483972" r:id="rId16"/>
    <p:sldLayoutId id="2147483948" r:id="rId17"/>
    <p:sldLayoutId id="2147483955" r:id="rId18"/>
    <p:sldLayoutId id="2147483965" r:id="rId19"/>
    <p:sldLayoutId id="2147483962" r:id="rId20"/>
    <p:sldLayoutId id="2147483963" r:id="rId21"/>
    <p:sldLayoutId id="2147483953" r:id="rId22"/>
    <p:sldLayoutId id="2147483973" r:id="rId23"/>
    <p:sldLayoutId id="2147483952" r:id="rId24"/>
    <p:sldLayoutId id="2147483949" r:id="rId25"/>
    <p:sldLayoutId id="2147483950" r:id="rId26"/>
    <p:sldLayoutId id="2147483960" r:id="rId27"/>
    <p:sldLayoutId id="2147483959" r:id="rId28"/>
    <p:sldLayoutId id="2147483913" r:id="rId29"/>
    <p:sldLayoutId id="2147483937" r:id="rId30"/>
  </p:sldLayoutIdLst>
  <p:hf sldNum="0" hdr="0" ftr="0"/>
  <p:txStyles>
    <p:titleStyle>
      <a:lvl1pPr algn="l" defTabSz="1042896" rtl="0" eaLnBrk="1" latinLnBrk="0" hangingPunct="1">
        <a:spcBef>
          <a:spcPct val="0"/>
        </a:spcBef>
        <a:buNone/>
        <a:defRPr lang="de-DE" sz="2000" b="1" i="0" u="none" strike="noStrike" kern="1200" baseline="0" smtClean="0">
          <a:solidFill>
            <a:schemeClr val="tx1"/>
          </a:solidFill>
          <a:latin typeface="Tahoma" pitchFamily="34" charset="0"/>
          <a:ea typeface="+mj-ea"/>
          <a:cs typeface="Tahoma" pitchFamily="34" charset="0"/>
        </a:defRPr>
      </a:lvl1pPr>
    </p:titleStyle>
    <p:bodyStyle>
      <a:lvl1pPr marL="0" indent="0" algn="l" defTabSz="1042896" rtl="0" eaLnBrk="1" latinLnBrk="0" hangingPunct="1">
        <a:lnSpc>
          <a:spcPct val="130000"/>
        </a:lnSpc>
        <a:spcBef>
          <a:spcPts val="0"/>
        </a:spcBef>
        <a:buFont typeface="Arial" pitchFamily="34" charset="0"/>
        <a:buNone/>
        <a:defRPr lang="de-DE" sz="1600" b="0" i="0" u="none" strike="noStrike" kern="1200" baseline="0" smtClean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432010" indent="-216005" algn="l" defTabSz="542841" rtl="0" eaLnBrk="1" latinLnBrk="0" hangingPunct="1">
        <a:lnSpc>
          <a:spcPct val="130000"/>
        </a:lnSpc>
        <a:spcBef>
          <a:spcPts val="0"/>
        </a:spcBef>
        <a:buClr>
          <a:schemeClr val="tx1"/>
        </a:buClr>
        <a:buSzPct val="120000"/>
        <a:buFont typeface="Arial" pitchFamily="34" charset="0"/>
        <a:buChar char="•"/>
        <a:tabLst/>
        <a:defRPr sz="1600" kern="12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864020" indent="-216005" algn="l" defTabSz="1042896" rtl="0" eaLnBrk="1" latinLnBrk="0" hangingPunct="1">
        <a:lnSpc>
          <a:spcPct val="130000"/>
        </a:lnSpc>
        <a:spcBef>
          <a:spcPts val="0"/>
        </a:spcBef>
        <a:buClr>
          <a:schemeClr val="tx1"/>
        </a:buClr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864020" indent="-216005" algn="l" defTabSz="1042896" rtl="0" eaLnBrk="1" latinLnBrk="0" hangingPunct="1">
        <a:lnSpc>
          <a:spcPct val="130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864020" indent="-216005" algn="l" defTabSz="1042896" rtl="0" eaLnBrk="1" latinLnBrk="0" hangingPunct="1">
        <a:lnSpc>
          <a:spcPct val="130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864020" indent="-216005" algn="l" defTabSz="1042896" rtl="0" eaLnBrk="1" latinLnBrk="0" hangingPunct="1">
        <a:lnSpc>
          <a:spcPct val="130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864020" indent="-216005" algn="l" defTabSz="1042896" rtl="0" eaLnBrk="1" latinLnBrk="0" hangingPunct="1">
        <a:lnSpc>
          <a:spcPct val="130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864020" indent="-216005" algn="l" defTabSz="1042896" rtl="0" eaLnBrk="1" latinLnBrk="0" hangingPunct="1">
        <a:lnSpc>
          <a:spcPct val="130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4432308" indent="-260724" algn="l" defTabSz="104289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4289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48" algn="l" defTabSz="104289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96" algn="l" defTabSz="104289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44" algn="l" defTabSz="104289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92" algn="l" defTabSz="104289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239" algn="l" defTabSz="104289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88" algn="l" defTabSz="104289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136" algn="l" defTabSz="104289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583" algn="l" defTabSz="104289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3">
          <p15:clr>
            <a:srgbClr val="F26B43"/>
          </p15:clr>
        </p15:guide>
        <p15:guide id="2" pos="8225">
          <p15:clr>
            <a:srgbClr val="F26B43"/>
          </p15:clr>
        </p15:guide>
        <p15:guide id="3" orient="horz" pos="4581">
          <p15:clr>
            <a:srgbClr val="F26B43"/>
          </p15:clr>
        </p15:guide>
        <p15:guide id="4" orient="horz" pos="182">
          <p15:clr>
            <a:srgbClr val="F26B43"/>
          </p15:clr>
        </p15:guide>
        <p15:guide id="5" pos="4234">
          <p15:clr>
            <a:srgbClr val="F26B43"/>
          </p15:clr>
        </p15:guide>
        <p15:guide id="6" pos="8112">
          <p15:clr>
            <a:srgbClr val="F26B43"/>
          </p15:clr>
        </p15:guide>
        <p15:guide id="7" orient="horz" pos="4468">
          <p15:clr>
            <a:srgbClr val="F26B43"/>
          </p15:clr>
        </p15:guide>
        <p15:guide id="8" pos="356">
          <p15:clr>
            <a:srgbClr val="F26B43"/>
          </p15:clr>
        </p15:guide>
        <p15:guide id="9" pos="528">
          <p15:clr>
            <a:srgbClr val="F26B43"/>
          </p15:clr>
        </p15:guide>
        <p15:guide id="10" pos="7953">
          <p15:clr>
            <a:srgbClr val="F26B43"/>
          </p15:clr>
        </p15:guide>
        <p15:guide id="11" pos="4376">
          <p15:clr>
            <a:srgbClr val="F26B43"/>
          </p15:clr>
        </p15:guide>
        <p15:guide id="12" pos="4092">
          <p15:clr>
            <a:srgbClr val="F26B43"/>
          </p15:clr>
        </p15:guide>
        <p15:guide id="13" orient="horz" pos="817">
          <p15:clr>
            <a:srgbClr val="F26B43"/>
          </p15:clr>
        </p15:guide>
        <p15:guide id="14" orient="horz" pos="4287">
          <p15:clr>
            <a:srgbClr val="F26B43"/>
          </p15:clr>
        </p15:guide>
        <p15:guide id="15" orient="horz" pos="295">
          <p15:clr>
            <a:srgbClr val="F26B43"/>
          </p15:clr>
        </p15:guide>
        <p15:guide id="16" orient="horz" pos="930">
          <p15:clr>
            <a:srgbClr val="F26B43"/>
          </p15:clr>
        </p15:guide>
        <p15:guide id="17" pos="2284">
          <p15:clr>
            <a:srgbClr val="F26B43"/>
          </p15:clr>
        </p15:guide>
        <p15:guide id="18" pos="6184">
          <p15:clr>
            <a:srgbClr val="F26B43"/>
          </p15:clr>
        </p15:guide>
        <p15:guide id="19" pos="3236">
          <p15:clr>
            <a:srgbClr val="F26B43"/>
          </p15:clr>
        </p15:guide>
        <p15:guide id="20" pos="5232">
          <p15:clr>
            <a:srgbClr val="F26B43"/>
          </p15:clr>
        </p15:guide>
        <p15:guide id="21" pos="1399">
          <p15:clr>
            <a:srgbClr val="F26B43"/>
          </p15:clr>
        </p15:guide>
        <p15:guide id="22" pos="706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AC70B675-F868-310F-D6F0-ED14876A9253}"/>
              </a:ext>
            </a:extLst>
          </p:cNvPr>
          <p:cNvSpPr txBox="1">
            <a:spLocks/>
          </p:cNvSpPr>
          <p:nvPr/>
        </p:nvSpPr>
        <p:spPr bwMode="gray">
          <a:xfrm>
            <a:off x="723851" y="629422"/>
            <a:ext cx="1230634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042896" rtl="0" eaLnBrk="1" latinLnBrk="0" hangingPunct="1">
              <a:lnSpc>
                <a:spcPct val="80000"/>
              </a:lnSpc>
              <a:spcBef>
                <a:spcPts val="0"/>
              </a:spcBef>
              <a:buFont typeface="Arial" pitchFamily="34" charset="0"/>
              <a:buNone/>
              <a:defRPr lang="de-DE" sz="4000" b="1" i="0" u="none" strike="noStrike" kern="1200" cap="none" baseline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432010" indent="-216005" algn="l" defTabSz="542841" rtl="0" eaLnBrk="1" latinLnBrk="0" hangingPunct="1">
              <a:lnSpc>
                <a:spcPct val="130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tabLst/>
              <a:defRPr sz="1600" kern="120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64020" indent="-216005" algn="l" defTabSz="1042896" rtl="0" eaLnBrk="1" latinLnBrk="0" hangingPunct="1">
              <a:lnSpc>
                <a:spcPct val="130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864020" indent="-216005" algn="l" defTabSz="1042896" rtl="0" eaLnBrk="1" latinLnBrk="0" hangingPunct="1">
              <a:lnSpc>
                <a:spcPct val="130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864020" indent="-216005" algn="l" defTabSz="1042896" rtl="0" eaLnBrk="1" latinLnBrk="0" hangingPunct="1">
              <a:lnSpc>
                <a:spcPct val="130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864020" indent="-216005" algn="l" defTabSz="1042896" rtl="0" eaLnBrk="1" latinLnBrk="0" hangingPunct="1">
              <a:lnSpc>
                <a:spcPct val="130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864020" indent="-216005" algn="l" defTabSz="1042896" rtl="0" eaLnBrk="1" latinLnBrk="0" hangingPunct="1">
              <a:lnSpc>
                <a:spcPct val="130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864020" indent="-216005" algn="l" defTabSz="1042896" rtl="0" eaLnBrk="1" latinLnBrk="0" hangingPunct="1">
              <a:lnSpc>
                <a:spcPct val="130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4432308" indent="-260724" algn="l" defTabSz="104289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Market Segment Foodservice</a:t>
            </a:r>
            <a:endParaRPr lang="en-US" dirty="0"/>
          </a:p>
        </p:txBody>
      </p:sp>
      <p:sp>
        <p:nvSpPr>
          <p:cNvPr id="13" name="Textfeld 4">
            <a:extLst>
              <a:ext uri="{FF2B5EF4-FFF2-40B4-BE49-F238E27FC236}">
                <a16:creationId xmlns:a16="http://schemas.microsoft.com/office/drawing/2014/main" id="{31D3A89C-FB16-D224-3425-6EF4A183764D}"/>
              </a:ext>
            </a:extLst>
          </p:cNvPr>
          <p:cNvSpPr txBox="1"/>
          <p:nvPr/>
        </p:nvSpPr>
        <p:spPr>
          <a:xfrm>
            <a:off x="571774" y="1505541"/>
            <a:ext cx="5917656" cy="6876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de-DE" sz="1323" b="1" dirty="0" err="1"/>
              <a:t>Results</a:t>
            </a:r>
            <a:r>
              <a:rPr lang="de-DE" sz="1323" b="1" dirty="0"/>
              <a:t> YTD </a:t>
            </a:r>
            <a:r>
              <a:rPr lang="de-DE" sz="1323" b="1" dirty="0" err="1"/>
              <a:t>July</a:t>
            </a:r>
            <a:r>
              <a:rPr lang="de-DE" sz="1323" b="1" dirty="0"/>
              <a:t> 2024</a:t>
            </a:r>
          </a:p>
          <a:p>
            <a:pPr>
              <a:spcBef>
                <a:spcPts val="300"/>
              </a:spcBef>
            </a:pPr>
            <a:endParaRPr lang="de-DE" sz="1323" dirty="0"/>
          </a:p>
          <a:p>
            <a:pPr>
              <a:spcBef>
                <a:spcPts val="300"/>
              </a:spcBef>
            </a:pPr>
            <a:r>
              <a:rPr lang="de-DE" sz="1323" dirty="0">
                <a:solidFill>
                  <a:srgbClr val="002348"/>
                </a:solidFill>
              </a:rPr>
              <a:t>Sales: +19,2 % </a:t>
            </a:r>
            <a:r>
              <a:rPr lang="de-DE" sz="1323" dirty="0" err="1">
                <a:solidFill>
                  <a:srgbClr val="002348"/>
                </a:solidFill>
              </a:rPr>
              <a:t>ytd</a:t>
            </a:r>
            <a:r>
              <a:rPr lang="de-DE" sz="1323" dirty="0">
                <a:solidFill>
                  <a:srgbClr val="002348"/>
                </a:solidFill>
              </a:rPr>
              <a:t>. </a:t>
            </a:r>
          </a:p>
        </p:txBody>
      </p:sp>
      <p:sp>
        <p:nvSpPr>
          <p:cNvPr id="14" name="Textfeld 11">
            <a:extLst>
              <a:ext uri="{FF2B5EF4-FFF2-40B4-BE49-F238E27FC236}">
                <a16:creationId xmlns:a16="http://schemas.microsoft.com/office/drawing/2014/main" id="{BAD3A719-DCF6-C4A9-ADD2-E2C02B35F852}"/>
              </a:ext>
            </a:extLst>
          </p:cNvPr>
          <p:cNvSpPr txBox="1"/>
          <p:nvPr/>
        </p:nvSpPr>
        <p:spPr>
          <a:xfrm>
            <a:off x="5731919" y="1505541"/>
            <a:ext cx="4301393" cy="6876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de-DE" sz="1323" b="1" dirty="0" err="1"/>
              <a:t>Results</a:t>
            </a:r>
            <a:r>
              <a:rPr lang="de-DE" sz="1323" b="1" dirty="0"/>
              <a:t> in </a:t>
            </a:r>
            <a:r>
              <a:rPr lang="de-DE" sz="1323" b="1" dirty="0" err="1"/>
              <a:t>July</a:t>
            </a:r>
            <a:r>
              <a:rPr lang="de-DE" sz="1323" b="1" dirty="0"/>
              <a:t> 2024</a:t>
            </a:r>
          </a:p>
          <a:p>
            <a:pPr>
              <a:spcBef>
                <a:spcPts val="300"/>
              </a:spcBef>
            </a:pPr>
            <a:endParaRPr lang="de-DE" sz="1323" dirty="0"/>
          </a:p>
          <a:p>
            <a:pPr>
              <a:spcBef>
                <a:spcPts val="300"/>
              </a:spcBef>
            </a:pPr>
            <a:r>
              <a:rPr lang="de-DE" sz="1323" dirty="0">
                <a:solidFill>
                  <a:srgbClr val="002348"/>
                </a:solidFill>
              </a:rPr>
              <a:t>Sales: 13,5%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EDEC3AC0-B977-CBBE-74C9-FE3D64F4B2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6664708"/>
              </p:ext>
            </p:extLst>
          </p:nvPr>
        </p:nvGraphicFramePr>
        <p:xfrm>
          <a:off x="435934" y="2860701"/>
          <a:ext cx="12594265" cy="3938685"/>
        </p:xfrm>
        <a:graphic>
          <a:graphicData uri="http://schemas.openxmlformats.org/drawingml/2006/table">
            <a:tbl>
              <a:tblPr/>
              <a:tblGrid>
                <a:gridCol w="1052896">
                  <a:extLst>
                    <a:ext uri="{9D8B030D-6E8A-4147-A177-3AD203B41FA5}">
                      <a16:colId xmlns:a16="http://schemas.microsoft.com/office/drawing/2014/main" val="482404857"/>
                    </a:ext>
                  </a:extLst>
                </a:gridCol>
                <a:gridCol w="1255377">
                  <a:extLst>
                    <a:ext uri="{9D8B030D-6E8A-4147-A177-3AD203B41FA5}">
                      <a16:colId xmlns:a16="http://schemas.microsoft.com/office/drawing/2014/main" val="1583770056"/>
                    </a:ext>
                  </a:extLst>
                </a:gridCol>
                <a:gridCol w="1255377">
                  <a:extLst>
                    <a:ext uri="{9D8B030D-6E8A-4147-A177-3AD203B41FA5}">
                      <a16:colId xmlns:a16="http://schemas.microsoft.com/office/drawing/2014/main" val="643058163"/>
                    </a:ext>
                  </a:extLst>
                </a:gridCol>
                <a:gridCol w="1255377">
                  <a:extLst>
                    <a:ext uri="{9D8B030D-6E8A-4147-A177-3AD203B41FA5}">
                      <a16:colId xmlns:a16="http://schemas.microsoft.com/office/drawing/2014/main" val="2772917730"/>
                    </a:ext>
                  </a:extLst>
                </a:gridCol>
                <a:gridCol w="1255377">
                  <a:extLst>
                    <a:ext uri="{9D8B030D-6E8A-4147-A177-3AD203B41FA5}">
                      <a16:colId xmlns:a16="http://schemas.microsoft.com/office/drawing/2014/main" val="305084746"/>
                    </a:ext>
                  </a:extLst>
                </a:gridCol>
                <a:gridCol w="1255377">
                  <a:extLst>
                    <a:ext uri="{9D8B030D-6E8A-4147-A177-3AD203B41FA5}">
                      <a16:colId xmlns:a16="http://schemas.microsoft.com/office/drawing/2014/main" val="1778921965"/>
                    </a:ext>
                  </a:extLst>
                </a:gridCol>
                <a:gridCol w="1255377">
                  <a:extLst>
                    <a:ext uri="{9D8B030D-6E8A-4147-A177-3AD203B41FA5}">
                      <a16:colId xmlns:a16="http://schemas.microsoft.com/office/drawing/2014/main" val="1713651985"/>
                    </a:ext>
                  </a:extLst>
                </a:gridCol>
                <a:gridCol w="1255377">
                  <a:extLst>
                    <a:ext uri="{9D8B030D-6E8A-4147-A177-3AD203B41FA5}">
                      <a16:colId xmlns:a16="http://schemas.microsoft.com/office/drawing/2014/main" val="3843042864"/>
                    </a:ext>
                  </a:extLst>
                </a:gridCol>
                <a:gridCol w="1498353">
                  <a:extLst>
                    <a:ext uri="{9D8B030D-6E8A-4147-A177-3AD203B41FA5}">
                      <a16:colId xmlns:a16="http://schemas.microsoft.com/office/drawing/2014/main" val="2081375834"/>
                    </a:ext>
                  </a:extLst>
                </a:gridCol>
                <a:gridCol w="1255377">
                  <a:extLst>
                    <a:ext uri="{9D8B030D-6E8A-4147-A177-3AD203B41FA5}">
                      <a16:colId xmlns:a16="http://schemas.microsoft.com/office/drawing/2014/main" val="505024142"/>
                    </a:ext>
                  </a:extLst>
                </a:gridCol>
              </a:tblGrid>
              <a:tr h="313775"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ROSS SALE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ROSS SALE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ROSS SALE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ROSS SALE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ROSS SALE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ROSS SALE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ROSS SALE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ROSS SALE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ROSS SALE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8033885"/>
                  </a:ext>
                </a:extLst>
              </a:tr>
              <a:tr h="428825"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7.202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7.202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/- %</a:t>
                      </a:r>
                      <a:b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nth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7.2023 ytd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7.2024 ytd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/- % ytd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-12 202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recast</a:t>
                      </a:r>
                      <a:b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Month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Y Bud</a:t>
                      </a:r>
                      <a:b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2347516"/>
                  </a:ext>
                </a:extLst>
              </a:tr>
              <a:tr h="3137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g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* 1.0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* 1.0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* 1.0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* 1.0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* 1.0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* 1.0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* 1.0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5238758"/>
                  </a:ext>
                </a:extLst>
              </a:tr>
              <a:tr h="3137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U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07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56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4.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,81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,27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,59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,35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,58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199850"/>
                  </a:ext>
                </a:extLst>
              </a:tr>
              <a:tr h="3137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I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1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2.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51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50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2.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,70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,95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,50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2769073"/>
                  </a:ext>
                </a:extLst>
              </a:tr>
              <a:tr h="3137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E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6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13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69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.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98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,4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51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9802936"/>
                  </a:ext>
                </a:extLst>
              </a:tr>
              <a:tr h="3137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IP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2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.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51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24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8.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91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,36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,84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99534"/>
                  </a:ext>
                </a:extLst>
              </a:tr>
              <a:tr h="3137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APAC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.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8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65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.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97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,37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,78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623259"/>
                  </a:ext>
                </a:extLst>
              </a:tr>
              <a:tr h="3137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APAC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61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11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,41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,08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2.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,93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,89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,83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5712274"/>
                  </a:ext>
                </a:extLst>
              </a:tr>
              <a:tr h="3137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90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11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.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,05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,86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9.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,6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,31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,81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521821"/>
                  </a:ext>
                </a:extLst>
              </a:tr>
              <a:tr h="3137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31.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66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68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6.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,33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,99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,89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486394"/>
                  </a:ext>
                </a:extLst>
              </a:tr>
              <a:tr h="3137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verall Resul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,46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,47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.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,91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5,0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6,05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3,65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4,78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5097256"/>
                  </a:ext>
                </a:extLst>
              </a:tr>
            </a:tbl>
          </a:graphicData>
        </a:graphic>
      </p:graphicFrame>
      <p:sp>
        <p:nvSpPr>
          <p:cNvPr id="19" name="Rechteck 10">
            <a:extLst>
              <a:ext uri="{FF2B5EF4-FFF2-40B4-BE49-F238E27FC236}">
                <a16:creationId xmlns:a16="http://schemas.microsoft.com/office/drawing/2014/main" id="{C3E72118-2FA3-E466-88F8-B8BFD1B5B80D}"/>
              </a:ext>
            </a:extLst>
          </p:cNvPr>
          <p:cNvSpPr/>
          <p:nvPr/>
        </p:nvSpPr>
        <p:spPr>
          <a:xfrm>
            <a:off x="3965945" y="2860701"/>
            <a:ext cx="1350335" cy="398496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21" name="Rechteck 12">
            <a:extLst>
              <a:ext uri="{FF2B5EF4-FFF2-40B4-BE49-F238E27FC236}">
                <a16:creationId xmlns:a16="http://schemas.microsoft.com/office/drawing/2014/main" id="{9B3AEA30-42DD-9B6B-585F-A9A69A2514A0}"/>
              </a:ext>
            </a:extLst>
          </p:cNvPr>
          <p:cNvSpPr/>
          <p:nvPr/>
        </p:nvSpPr>
        <p:spPr>
          <a:xfrm>
            <a:off x="7790371" y="2814423"/>
            <a:ext cx="1257936" cy="403123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53856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38BAB2B-3E01-FA05-901D-E620B2C8E5B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feld 4">
            <a:extLst>
              <a:ext uri="{FF2B5EF4-FFF2-40B4-BE49-F238E27FC236}">
                <a16:creationId xmlns:a16="http://schemas.microsoft.com/office/drawing/2014/main" id="{385245CD-7B04-FC87-D9FC-F2E2074C7306}"/>
              </a:ext>
            </a:extLst>
          </p:cNvPr>
          <p:cNvSpPr txBox="1"/>
          <p:nvPr/>
        </p:nvSpPr>
        <p:spPr>
          <a:xfrm>
            <a:off x="908064" y="1443478"/>
            <a:ext cx="5917656" cy="6876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de-DE" sz="1323" b="1" dirty="0" err="1"/>
              <a:t>Results</a:t>
            </a:r>
            <a:r>
              <a:rPr lang="de-DE" sz="1323" b="1" dirty="0"/>
              <a:t> YTD </a:t>
            </a:r>
            <a:r>
              <a:rPr lang="de-DE" sz="1323" b="1" dirty="0" err="1"/>
              <a:t>July</a:t>
            </a:r>
            <a:r>
              <a:rPr lang="de-DE" sz="1323" b="1" dirty="0"/>
              <a:t> 2024</a:t>
            </a:r>
          </a:p>
          <a:p>
            <a:pPr>
              <a:spcBef>
                <a:spcPts val="300"/>
              </a:spcBef>
            </a:pPr>
            <a:endParaRPr lang="de-DE" sz="1323" dirty="0"/>
          </a:p>
          <a:p>
            <a:pPr>
              <a:spcBef>
                <a:spcPts val="300"/>
              </a:spcBef>
            </a:pPr>
            <a:r>
              <a:rPr lang="de-DE" sz="1323" dirty="0">
                <a:solidFill>
                  <a:srgbClr val="002348"/>
                </a:solidFill>
              </a:rPr>
              <a:t>CM1: -3,7 % </a:t>
            </a:r>
            <a:r>
              <a:rPr lang="de-DE" sz="1323" dirty="0" err="1">
                <a:solidFill>
                  <a:srgbClr val="002348"/>
                </a:solidFill>
              </a:rPr>
              <a:t>ytd</a:t>
            </a:r>
            <a:r>
              <a:rPr lang="de-DE" sz="1323" dirty="0">
                <a:solidFill>
                  <a:srgbClr val="002348"/>
                </a:solidFill>
              </a:rPr>
              <a:t>. </a:t>
            </a:r>
          </a:p>
        </p:txBody>
      </p:sp>
      <p:sp>
        <p:nvSpPr>
          <p:cNvPr id="10" name="Textfeld 11">
            <a:extLst>
              <a:ext uri="{FF2B5EF4-FFF2-40B4-BE49-F238E27FC236}">
                <a16:creationId xmlns:a16="http://schemas.microsoft.com/office/drawing/2014/main" id="{4A065608-0CFA-6037-3CF9-764F529F384D}"/>
              </a:ext>
            </a:extLst>
          </p:cNvPr>
          <p:cNvSpPr txBox="1"/>
          <p:nvPr/>
        </p:nvSpPr>
        <p:spPr>
          <a:xfrm>
            <a:off x="6061528" y="1463681"/>
            <a:ext cx="4301393" cy="6876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de-DE" sz="1323" b="1" dirty="0" err="1"/>
              <a:t>Results</a:t>
            </a:r>
            <a:r>
              <a:rPr lang="de-DE" sz="1323" b="1" dirty="0"/>
              <a:t> in </a:t>
            </a:r>
            <a:r>
              <a:rPr lang="de-DE" sz="1323" b="1" dirty="0" err="1"/>
              <a:t>July</a:t>
            </a:r>
            <a:r>
              <a:rPr lang="de-DE" sz="1323" b="1" dirty="0"/>
              <a:t> 2024</a:t>
            </a:r>
          </a:p>
          <a:p>
            <a:pPr>
              <a:spcBef>
                <a:spcPts val="300"/>
              </a:spcBef>
            </a:pPr>
            <a:endParaRPr lang="de-DE" sz="1323" dirty="0"/>
          </a:p>
          <a:p>
            <a:pPr>
              <a:spcBef>
                <a:spcPts val="300"/>
              </a:spcBef>
            </a:pPr>
            <a:r>
              <a:rPr lang="de-DE" sz="1323" dirty="0">
                <a:solidFill>
                  <a:srgbClr val="002348"/>
                </a:solidFill>
              </a:rPr>
              <a:t>CM1: -6,1%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2AAC5A92-D734-CE82-DE10-48C6688D3E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3586224"/>
              </p:ext>
            </p:extLst>
          </p:nvPr>
        </p:nvGraphicFramePr>
        <p:xfrm>
          <a:off x="2137144" y="2771655"/>
          <a:ext cx="10740653" cy="3747744"/>
        </p:xfrm>
        <a:graphic>
          <a:graphicData uri="http://schemas.openxmlformats.org/drawingml/2006/table">
            <a:tbl>
              <a:tblPr/>
              <a:tblGrid>
                <a:gridCol w="1152254">
                  <a:extLst>
                    <a:ext uri="{9D8B030D-6E8A-4147-A177-3AD203B41FA5}">
                      <a16:colId xmlns:a16="http://schemas.microsoft.com/office/drawing/2014/main" val="982859497"/>
                    </a:ext>
                  </a:extLst>
                </a:gridCol>
                <a:gridCol w="1152254">
                  <a:extLst>
                    <a:ext uri="{9D8B030D-6E8A-4147-A177-3AD203B41FA5}">
                      <a16:colId xmlns:a16="http://schemas.microsoft.com/office/drawing/2014/main" val="3319895034"/>
                    </a:ext>
                  </a:extLst>
                </a:gridCol>
                <a:gridCol w="1152254">
                  <a:extLst>
                    <a:ext uri="{9D8B030D-6E8A-4147-A177-3AD203B41FA5}">
                      <a16:colId xmlns:a16="http://schemas.microsoft.com/office/drawing/2014/main" val="3839994352"/>
                    </a:ext>
                  </a:extLst>
                </a:gridCol>
                <a:gridCol w="1152254">
                  <a:extLst>
                    <a:ext uri="{9D8B030D-6E8A-4147-A177-3AD203B41FA5}">
                      <a16:colId xmlns:a16="http://schemas.microsoft.com/office/drawing/2014/main" val="773217207"/>
                    </a:ext>
                  </a:extLst>
                </a:gridCol>
                <a:gridCol w="1152254">
                  <a:extLst>
                    <a:ext uri="{9D8B030D-6E8A-4147-A177-3AD203B41FA5}">
                      <a16:colId xmlns:a16="http://schemas.microsoft.com/office/drawing/2014/main" val="3434807394"/>
                    </a:ext>
                  </a:extLst>
                </a:gridCol>
                <a:gridCol w="1152254">
                  <a:extLst>
                    <a:ext uri="{9D8B030D-6E8A-4147-A177-3AD203B41FA5}">
                      <a16:colId xmlns:a16="http://schemas.microsoft.com/office/drawing/2014/main" val="2993425058"/>
                    </a:ext>
                  </a:extLst>
                </a:gridCol>
                <a:gridCol w="1152254">
                  <a:extLst>
                    <a:ext uri="{9D8B030D-6E8A-4147-A177-3AD203B41FA5}">
                      <a16:colId xmlns:a16="http://schemas.microsoft.com/office/drawing/2014/main" val="1631265395"/>
                    </a:ext>
                  </a:extLst>
                </a:gridCol>
                <a:gridCol w="1522621">
                  <a:extLst>
                    <a:ext uri="{9D8B030D-6E8A-4147-A177-3AD203B41FA5}">
                      <a16:colId xmlns:a16="http://schemas.microsoft.com/office/drawing/2014/main" val="3769596768"/>
                    </a:ext>
                  </a:extLst>
                </a:gridCol>
                <a:gridCol w="1152254">
                  <a:extLst>
                    <a:ext uri="{9D8B030D-6E8A-4147-A177-3AD203B41FA5}">
                      <a16:colId xmlns:a16="http://schemas.microsoft.com/office/drawing/2014/main" val="2317759131"/>
                    </a:ext>
                  </a:extLst>
                </a:gridCol>
              </a:tblGrid>
              <a:tr h="303052"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ndard CM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ndard CM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ndard CM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ndard CM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ndard CM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ndard CM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ndard CM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ndard CM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ndard CM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8052789"/>
                  </a:ext>
                </a:extLst>
              </a:tr>
              <a:tr h="414172"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7.202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7.202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/- %</a:t>
                      </a:r>
                      <a:b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nth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7.2023 ytd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7.2024 ytd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/- % ytd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-12 202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recast</a:t>
                      </a:r>
                      <a:b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Month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Y Bud</a:t>
                      </a:r>
                      <a:b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1880664"/>
                  </a:ext>
                </a:extLst>
              </a:tr>
              <a:tr h="303052"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* 1.0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* 1.0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* 1.0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* 1.0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* 1.0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* 1.0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* 1.0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8687078"/>
                  </a:ext>
                </a:extLst>
              </a:tr>
              <a:tr h="303052"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35.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31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27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,42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59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,28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1659108"/>
                  </a:ext>
                </a:extLst>
              </a:tr>
              <a:tr h="303052"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81.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5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6.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92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7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292202"/>
                  </a:ext>
                </a:extLst>
              </a:tr>
              <a:tr h="303052"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0.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14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9.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6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73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16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0239291"/>
                  </a:ext>
                </a:extLst>
              </a:tr>
              <a:tr h="303052"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6.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1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4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.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43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69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79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0351024"/>
                  </a:ext>
                </a:extLst>
              </a:tr>
              <a:tr h="303052"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.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02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.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8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99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90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1628534"/>
                  </a:ext>
                </a:extLst>
              </a:tr>
              <a:tr h="303052"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.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92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62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.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15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65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66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4174923"/>
                  </a:ext>
                </a:extLst>
              </a:tr>
              <a:tr h="303052"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48.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,09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95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67.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,0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,36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,52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844219"/>
                  </a:ext>
                </a:extLst>
              </a:tr>
              <a:tr h="303052"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1.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61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8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6.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83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97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69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1068621"/>
                  </a:ext>
                </a:extLst>
              </a:tr>
              <a:tr h="303052"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00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88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6.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,95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,43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3.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,07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,97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,32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9213730"/>
                  </a:ext>
                </a:extLst>
              </a:tr>
            </a:tbl>
          </a:graphicData>
        </a:graphic>
      </p:graphicFrame>
      <p:pic>
        <p:nvPicPr>
          <p:cNvPr id="12" name="Grafik 2">
            <a:extLst>
              <a:ext uri="{FF2B5EF4-FFF2-40B4-BE49-F238E27FC236}">
                <a16:creationId xmlns:a16="http://schemas.microsoft.com/office/drawing/2014/main" id="{C344CAF5-E233-B594-E892-6392EC5EF62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89041"/>
          <a:stretch/>
        </p:blipFill>
        <p:spPr>
          <a:xfrm>
            <a:off x="908064" y="2771655"/>
            <a:ext cx="1229080" cy="3747750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D6A61C29-DC0B-AAA0-7A58-C10E37FB5907}"/>
              </a:ext>
            </a:extLst>
          </p:cNvPr>
          <p:cNvSpPr/>
          <p:nvPr/>
        </p:nvSpPr>
        <p:spPr>
          <a:xfrm>
            <a:off x="4458789" y="2677337"/>
            <a:ext cx="1139868" cy="398496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4" name="Rechteck 12">
            <a:extLst>
              <a:ext uri="{FF2B5EF4-FFF2-40B4-BE49-F238E27FC236}">
                <a16:creationId xmlns:a16="http://schemas.microsoft.com/office/drawing/2014/main" id="{D31FF788-6EA2-FBCB-53F2-0C8A5C02D451}"/>
              </a:ext>
            </a:extLst>
          </p:cNvPr>
          <p:cNvSpPr/>
          <p:nvPr/>
        </p:nvSpPr>
        <p:spPr>
          <a:xfrm>
            <a:off x="7882615" y="2677337"/>
            <a:ext cx="1139868" cy="398496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B1500827-1DF3-6808-A7E0-A61F7CDDE2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1500" y="476250"/>
            <a:ext cx="12306300" cy="493713"/>
          </a:xfrm>
        </p:spPr>
        <p:txBody>
          <a:bodyPr/>
          <a:lstStyle/>
          <a:p>
            <a:r>
              <a:rPr lang="en-GB" dirty="0"/>
              <a:t>Market Segment Foodservi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6654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01A3141-7DBD-161C-0795-B3B1D9C4D66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32AD181D-8C38-0D3A-2D56-4F8F090FD8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702161"/>
              </p:ext>
            </p:extLst>
          </p:nvPr>
        </p:nvGraphicFramePr>
        <p:xfrm>
          <a:off x="2137144" y="2771655"/>
          <a:ext cx="10504965" cy="3809835"/>
        </p:xfrm>
        <a:graphic>
          <a:graphicData uri="http://schemas.openxmlformats.org/drawingml/2006/table">
            <a:tbl>
              <a:tblPr/>
              <a:tblGrid>
                <a:gridCol w="1153824">
                  <a:extLst>
                    <a:ext uri="{9D8B030D-6E8A-4147-A177-3AD203B41FA5}">
                      <a16:colId xmlns:a16="http://schemas.microsoft.com/office/drawing/2014/main" val="1956181073"/>
                    </a:ext>
                  </a:extLst>
                </a:gridCol>
                <a:gridCol w="1153824">
                  <a:extLst>
                    <a:ext uri="{9D8B030D-6E8A-4147-A177-3AD203B41FA5}">
                      <a16:colId xmlns:a16="http://schemas.microsoft.com/office/drawing/2014/main" val="3604886580"/>
                    </a:ext>
                  </a:extLst>
                </a:gridCol>
                <a:gridCol w="1153824">
                  <a:extLst>
                    <a:ext uri="{9D8B030D-6E8A-4147-A177-3AD203B41FA5}">
                      <a16:colId xmlns:a16="http://schemas.microsoft.com/office/drawing/2014/main" val="1754137901"/>
                    </a:ext>
                  </a:extLst>
                </a:gridCol>
                <a:gridCol w="1153824">
                  <a:extLst>
                    <a:ext uri="{9D8B030D-6E8A-4147-A177-3AD203B41FA5}">
                      <a16:colId xmlns:a16="http://schemas.microsoft.com/office/drawing/2014/main" val="2834468944"/>
                    </a:ext>
                  </a:extLst>
                </a:gridCol>
                <a:gridCol w="1153824">
                  <a:extLst>
                    <a:ext uri="{9D8B030D-6E8A-4147-A177-3AD203B41FA5}">
                      <a16:colId xmlns:a16="http://schemas.microsoft.com/office/drawing/2014/main" val="126391515"/>
                    </a:ext>
                  </a:extLst>
                </a:gridCol>
                <a:gridCol w="1153824">
                  <a:extLst>
                    <a:ext uri="{9D8B030D-6E8A-4147-A177-3AD203B41FA5}">
                      <a16:colId xmlns:a16="http://schemas.microsoft.com/office/drawing/2014/main" val="2342803484"/>
                    </a:ext>
                  </a:extLst>
                </a:gridCol>
                <a:gridCol w="1153824">
                  <a:extLst>
                    <a:ext uri="{9D8B030D-6E8A-4147-A177-3AD203B41FA5}">
                      <a16:colId xmlns:a16="http://schemas.microsoft.com/office/drawing/2014/main" val="3810050028"/>
                    </a:ext>
                  </a:extLst>
                </a:gridCol>
                <a:gridCol w="1274373">
                  <a:extLst>
                    <a:ext uri="{9D8B030D-6E8A-4147-A177-3AD203B41FA5}">
                      <a16:colId xmlns:a16="http://schemas.microsoft.com/office/drawing/2014/main" val="2029471810"/>
                    </a:ext>
                  </a:extLst>
                </a:gridCol>
                <a:gridCol w="1153824">
                  <a:extLst>
                    <a:ext uri="{9D8B030D-6E8A-4147-A177-3AD203B41FA5}">
                      <a16:colId xmlns:a16="http://schemas.microsoft.com/office/drawing/2014/main" val="2182166391"/>
                    </a:ext>
                  </a:extLst>
                </a:gridCol>
              </a:tblGrid>
              <a:tr h="302439"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LES VOLUM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LES VOLUM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LES VOLUM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LES VOLUM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LES VOLUM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LES VOLUM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LES VOLUM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LES VOLUM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LES VOLUM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9911887"/>
                  </a:ext>
                </a:extLst>
              </a:tr>
              <a:tr h="413335"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7.202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7.202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/- %</a:t>
                      </a:r>
                      <a:b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nth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7.2023 ytd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7.2024 ytd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/- % ytd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-12 202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recast</a:t>
                      </a:r>
                      <a:b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Month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Y Bud</a:t>
                      </a:r>
                      <a:b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0604006"/>
                  </a:ext>
                </a:extLst>
              </a:tr>
              <a:tr h="30243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* 1.0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* 1.0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* 1.0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* 1.0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* 1.0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* 1.0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* 1.0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C4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836773"/>
                  </a:ext>
                </a:extLst>
              </a:tr>
              <a:tr h="30243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16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35.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,78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,73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,13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,18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,00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7426388"/>
                  </a:ext>
                </a:extLst>
              </a:tr>
              <a:tr h="30243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39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47.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11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5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30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9013894"/>
                  </a:ext>
                </a:extLst>
              </a:tr>
              <a:tr h="30243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6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45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13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99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80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1007419"/>
                  </a:ext>
                </a:extLst>
              </a:tr>
              <a:tr h="30243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1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7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7.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00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77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.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87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,04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,2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576102"/>
                  </a:ext>
                </a:extLst>
              </a:tr>
              <a:tr h="30243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.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7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4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.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58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12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14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9685154"/>
                  </a:ext>
                </a:extLst>
              </a:tr>
              <a:tr h="30243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9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09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.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,61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,63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6.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,26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,18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,01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0561977"/>
                  </a:ext>
                </a:extLst>
              </a:tr>
              <a:tr h="30243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03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59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.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,22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,35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0.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,12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,06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,34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542772"/>
                  </a:ext>
                </a:extLst>
              </a:tr>
              <a:tr h="30243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6.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59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81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30.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40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02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,44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E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2445724"/>
                  </a:ext>
                </a:extLst>
              </a:tr>
              <a:tr h="30243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,19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,99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,74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,74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.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,64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,88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7,27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4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3458195"/>
                  </a:ext>
                </a:extLst>
              </a:tr>
            </a:tbl>
          </a:graphicData>
        </a:graphic>
      </p:graphicFrame>
      <p:pic>
        <p:nvPicPr>
          <p:cNvPr id="10" name="Grafik 2">
            <a:extLst>
              <a:ext uri="{FF2B5EF4-FFF2-40B4-BE49-F238E27FC236}">
                <a16:creationId xmlns:a16="http://schemas.microsoft.com/office/drawing/2014/main" id="{E0A8E2F7-8A3B-E0FD-DEAB-CA3A37AB04B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89041"/>
          <a:stretch/>
        </p:blipFill>
        <p:spPr>
          <a:xfrm>
            <a:off x="882502" y="2771655"/>
            <a:ext cx="1254642" cy="3825694"/>
          </a:xfrm>
          <a:prstGeom prst="rect">
            <a:avLst/>
          </a:prstGeom>
        </p:spPr>
      </p:pic>
      <p:sp>
        <p:nvSpPr>
          <p:cNvPr id="11" name="Rechteck 12">
            <a:extLst>
              <a:ext uri="{FF2B5EF4-FFF2-40B4-BE49-F238E27FC236}">
                <a16:creationId xmlns:a16="http://schemas.microsoft.com/office/drawing/2014/main" id="{4DA6C435-8B15-157F-DA34-25BF0DA1CAE0}"/>
              </a:ext>
            </a:extLst>
          </p:cNvPr>
          <p:cNvSpPr/>
          <p:nvPr/>
        </p:nvSpPr>
        <p:spPr>
          <a:xfrm>
            <a:off x="4359542" y="2615609"/>
            <a:ext cx="1254642" cy="406689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2" name="Rechteck 12">
            <a:extLst>
              <a:ext uri="{FF2B5EF4-FFF2-40B4-BE49-F238E27FC236}">
                <a16:creationId xmlns:a16="http://schemas.microsoft.com/office/drawing/2014/main" id="{E9B7CF11-E450-873E-ED99-4F3464CF6FFA}"/>
              </a:ext>
            </a:extLst>
          </p:cNvPr>
          <p:cNvSpPr/>
          <p:nvPr/>
        </p:nvSpPr>
        <p:spPr>
          <a:xfrm>
            <a:off x="7873504" y="2697540"/>
            <a:ext cx="1254642" cy="398496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D17F5CAD-0DD1-418C-8DCC-7916F8ADE7D4}"/>
              </a:ext>
            </a:extLst>
          </p:cNvPr>
          <p:cNvSpPr txBox="1">
            <a:spLocks/>
          </p:cNvSpPr>
          <p:nvPr/>
        </p:nvSpPr>
        <p:spPr bwMode="gray">
          <a:xfrm>
            <a:off x="723851" y="629422"/>
            <a:ext cx="1230634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042896" rtl="0" eaLnBrk="1" latinLnBrk="0" hangingPunct="1">
              <a:lnSpc>
                <a:spcPct val="80000"/>
              </a:lnSpc>
              <a:spcBef>
                <a:spcPts val="0"/>
              </a:spcBef>
              <a:buFont typeface="Arial" pitchFamily="34" charset="0"/>
              <a:buNone/>
              <a:defRPr lang="de-DE" sz="4000" b="1" i="0" u="none" strike="noStrike" kern="1200" cap="none" baseline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432010" indent="-216005" algn="l" defTabSz="542841" rtl="0" eaLnBrk="1" latinLnBrk="0" hangingPunct="1">
              <a:lnSpc>
                <a:spcPct val="130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tabLst/>
              <a:defRPr sz="1600" kern="120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64020" indent="-216005" algn="l" defTabSz="1042896" rtl="0" eaLnBrk="1" latinLnBrk="0" hangingPunct="1">
              <a:lnSpc>
                <a:spcPct val="130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864020" indent="-216005" algn="l" defTabSz="1042896" rtl="0" eaLnBrk="1" latinLnBrk="0" hangingPunct="1">
              <a:lnSpc>
                <a:spcPct val="130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864020" indent="-216005" algn="l" defTabSz="1042896" rtl="0" eaLnBrk="1" latinLnBrk="0" hangingPunct="1">
              <a:lnSpc>
                <a:spcPct val="130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864020" indent="-216005" algn="l" defTabSz="1042896" rtl="0" eaLnBrk="1" latinLnBrk="0" hangingPunct="1">
              <a:lnSpc>
                <a:spcPct val="130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864020" indent="-216005" algn="l" defTabSz="1042896" rtl="0" eaLnBrk="1" latinLnBrk="0" hangingPunct="1">
              <a:lnSpc>
                <a:spcPct val="130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864020" indent="-216005" algn="l" defTabSz="1042896" rtl="0" eaLnBrk="1" latinLnBrk="0" hangingPunct="1">
              <a:lnSpc>
                <a:spcPct val="130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4432308" indent="-260724" algn="l" defTabSz="104289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Market Segment Foodservice</a:t>
            </a:r>
            <a:endParaRPr lang="en-US" dirty="0"/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C47EF242-20C5-77C9-EB72-472F94EC78A6}"/>
              </a:ext>
            </a:extLst>
          </p:cNvPr>
          <p:cNvSpPr txBox="1">
            <a:spLocks/>
          </p:cNvSpPr>
          <p:nvPr/>
        </p:nvSpPr>
        <p:spPr bwMode="gray">
          <a:xfrm>
            <a:off x="726258" y="1201840"/>
            <a:ext cx="1230394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042896" rtl="0" eaLnBrk="1" latinLnBrk="0" hangingPunct="1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lang="de-DE" sz="1600" b="0" i="0" u="none" strike="noStrike" kern="1200" baseline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432010" indent="-216005" algn="l" defTabSz="542841" rtl="0" eaLnBrk="1" latinLnBrk="0" hangingPunct="1">
              <a:lnSpc>
                <a:spcPct val="130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tabLst/>
              <a:defRPr sz="1600" kern="120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64020" indent="-216005" algn="l" defTabSz="1042896" rtl="0" eaLnBrk="1" latinLnBrk="0" hangingPunct="1">
              <a:lnSpc>
                <a:spcPct val="130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864020" indent="-216005" algn="l" defTabSz="1042896" rtl="0" eaLnBrk="1" latinLnBrk="0" hangingPunct="1">
              <a:lnSpc>
                <a:spcPct val="130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864020" indent="-216005" algn="l" defTabSz="1042896" rtl="0" eaLnBrk="1" latinLnBrk="0" hangingPunct="1">
              <a:lnSpc>
                <a:spcPct val="130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864020" indent="-216005" algn="l" defTabSz="1042896" rtl="0" eaLnBrk="1" latinLnBrk="0" hangingPunct="1">
              <a:lnSpc>
                <a:spcPct val="130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864020" indent="-216005" algn="l" defTabSz="1042896" rtl="0" eaLnBrk="1" latinLnBrk="0" hangingPunct="1">
              <a:lnSpc>
                <a:spcPct val="130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864020" indent="-216005" algn="l" defTabSz="1042896" rtl="0" eaLnBrk="1" latinLnBrk="0" hangingPunct="1">
              <a:lnSpc>
                <a:spcPct val="130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4432308" indent="-260724" algn="l" defTabSz="104289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/>
              <a:t>Volumes</a:t>
            </a:r>
            <a:endParaRPr lang="de-DE" b="1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9A57B5B-28BA-789E-13DD-C5784184DAB6}"/>
              </a:ext>
            </a:extLst>
          </p:cNvPr>
          <p:cNvSpPr txBox="1"/>
          <p:nvPr/>
        </p:nvSpPr>
        <p:spPr>
          <a:xfrm>
            <a:off x="998893" y="1979452"/>
            <a:ext cx="671977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de-DE" sz="1400" dirty="0">
                <a:solidFill>
                  <a:srgbClr val="002348"/>
                </a:solidFill>
              </a:rPr>
              <a:t>VOL: + 17,8% </a:t>
            </a:r>
            <a:r>
              <a:rPr lang="de-DE" sz="1400" dirty="0" err="1">
                <a:solidFill>
                  <a:srgbClr val="002348"/>
                </a:solidFill>
              </a:rPr>
              <a:t>ytd</a:t>
            </a:r>
            <a:r>
              <a:rPr lang="de-DE" sz="1400" dirty="0">
                <a:solidFill>
                  <a:srgbClr val="002348"/>
                </a:solidFill>
              </a:rPr>
              <a:t>.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310BD6-026B-7EEF-F5F3-169D6593E718}"/>
              </a:ext>
            </a:extLst>
          </p:cNvPr>
          <p:cNvSpPr txBox="1"/>
          <p:nvPr/>
        </p:nvSpPr>
        <p:spPr>
          <a:xfrm>
            <a:off x="7293935" y="1979451"/>
            <a:ext cx="671977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de-DE" sz="1400" dirty="0">
                <a:solidFill>
                  <a:srgbClr val="002348"/>
                </a:solidFill>
              </a:rPr>
              <a:t>VOL: + 15,5%</a:t>
            </a:r>
          </a:p>
        </p:txBody>
      </p:sp>
    </p:spTree>
    <p:extLst>
      <p:ext uri="{BB962C8B-B14F-4D97-AF65-F5344CB8AC3E}">
        <p14:creationId xmlns:p14="http://schemas.microsoft.com/office/powerpoint/2010/main" val="34933351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8C5DC37-FAB9-A153-5F2D-AE9B9B1FCF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1842371" y="454714"/>
            <a:ext cx="11787189" cy="1132618"/>
          </a:xfrm>
        </p:spPr>
        <p:txBody>
          <a:bodyPr/>
          <a:lstStyle/>
          <a:p>
            <a:r>
              <a:rPr lang="de-DE" sz="3200" i="0" u="none" strike="noStrike" kern="1200" dirty="0">
                <a:solidFill>
                  <a:srgbClr val="1D1D1F"/>
                </a:solidFill>
                <a:effectLst/>
                <a:latin typeface="Verdana" panose="020B0604030504040204" pitchFamily="34" charset="0"/>
              </a:rPr>
              <a:t>EUROPE</a:t>
            </a:r>
            <a:endParaRPr lang="de-DE" sz="3200" i="0" u="none" strike="noStrike" dirty="0">
              <a:effectLst/>
              <a:latin typeface="Arial" panose="020B0604020202020204" pitchFamily="34" charset="0"/>
            </a:endParaRPr>
          </a:p>
          <a:p>
            <a:r>
              <a:rPr lang="de-DE" dirty="0"/>
              <a:t>  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664667A-397A-15F1-C5BD-6D40DB943B6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-1863007" y="896918"/>
            <a:ext cx="11787188" cy="369332"/>
          </a:xfrm>
        </p:spPr>
        <p:txBody>
          <a:bodyPr/>
          <a:lstStyle/>
          <a:p>
            <a:r>
              <a:rPr lang="de-DE" sz="2400" dirty="0"/>
              <a:t>MS Foodservice 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A10A5312-19A0-411B-C862-A7421F514D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228723" y="1645468"/>
            <a:ext cx="4476751" cy="461665"/>
          </a:xfrm>
        </p:spPr>
        <p:txBody>
          <a:bodyPr/>
          <a:lstStyle/>
          <a:p>
            <a:r>
              <a:rPr lang="en-US" sz="1600" u="sng" dirty="0"/>
              <a:t>MSDPA in progress</a:t>
            </a:r>
          </a:p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38B1BF01-E2FA-C72A-0AB3-59EE4B2FB3E2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228723" y="3662188"/>
            <a:ext cx="3305178" cy="461665"/>
          </a:xfrm>
        </p:spPr>
        <p:txBody>
          <a:bodyPr/>
          <a:lstStyle/>
          <a:p>
            <a:r>
              <a:rPr lang="en-US" sz="1600" u="sng" dirty="0"/>
              <a:t>Ongoing projects</a:t>
            </a:r>
          </a:p>
          <a:p>
            <a:endParaRPr lang="de-DE" u="sng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C6C270FB-4317-E739-63FA-EEEC2556ECA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1228722" y="2202235"/>
            <a:ext cx="5217013" cy="1231106"/>
          </a:xfrm>
        </p:spPr>
        <p:txBody>
          <a:bodyPr/>
          <a:lstStyle/>
          <a:p>
            <a:r>
              <a:rPr lang="de-DE" sz="1600" dirty="0"/>
              <a:t>- MSDPA Cold Coffee</a:t>
            </a:r>
          </a:p>
          <a:p>
            <a:r>
              <a:rPr lang="de-DE" sz="1600" dirty="0"/>
              <a:t>- MSDPA Smoothies</a:t>
            </a:r>
          </a:p>
          <a:p>
            <a:r>
              <a:rPr lang="de-DE" sz="1600" dirty="0"/>
              <a:t>- Initiative Tom. Sauce</a:t>
            </a:r>
          </a:p>
          <a:p>
            <a:r>
              <a:rPr lang="de-DE" sz="1600" dirty="0"/>
              <a:t>- MSDPA on soft </a:t>
            </a:r>
            <a:r>
              <a:rPr lang="de-DE" sz="1600" dirty="0" err="1"/>
              <a:t>serve</a:t>
            </a:r>
            <a:r>
              <a:rPr lang="de-DE" sz="1600" dirty="0"/>
              <a:t> </a:t>
            </a:r>
            <a:r>
              <a:rPr lang="de-DE" sz="1600" dirty="0" err="1"/>
              <a:t>ice</a:t>
            </a:r>
            <a:r>
              <a:rPr lang="de-DE" sz="1600" dirty="0"/>
              <a:t> </a:t>
            </a:r>
            <a:r>
              <a:rPr lang="de-DE" sz="1600" dirty="0" err="1"/>
              <a:t>cream</a:t>
            </a:r>
            <a:endParaRPr lang="de-DE" sz="1600" dirty="0"/>
          </a:p>
          <a:p>
            <a:r>
              <a:rPr lang="de-DE" sz="1600" dirty="0"/>
              <a:t>- Fruit and </a:t>
            </a:r>
            <a:r>
              <a:rPr lang="de-DE" sz="1600" dirty="0" err="1"/>
              <a:t>Veggie</a:t>
            </a:r>
            <a:r>
              <a:rPr lang="de-DE" sz="1600" dirty="0"/>
              <a:t> </a:t>
            </a:r>
            <a:r>
              <a:rPr lang="de-DE" sz="1600" dirty="0" err="1"/>
              <a:t>puree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/>
              <a:t>buns</a:t>
            </a:r>
            <a:r>
              <a:rPr lang="de-DE" sz="1600" dirty="0"/>
              <a:t> and </a:t>
            </a:r>
            <a:r>
              <a:rPr lang="de-DE" sz="1600" dirty="0" err="1"/>
              <a:t>pastries</a:t>
            </a:r>
            <a:endParaRPr lang="de-DE" sz="1600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A6405684-CEEF-C45D-249B-5EDFCAC9E92C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1228723" y="4216869"/>
            <a:ext cx="6575516" cy="2154436"/>
          </a:xfrm>
        </p:spPr>
        <p:txBody>
          <a:bodyPr/>
          <a:lstStyle/>
          <a:p>
            <a:r>
              <a:rPr lang="de-DE" sz="1600" dirty="0"/>
              <a:t>- Update on Focus </a:t>
            </a:r>
            <a:r>
              <a:rPr lang="de-DE" sz="1600" dirty="0" err="1"/>
              <a:t>accounts</a:t>
            </a:r>
            <a:endParaRPr lang="de-DE" sz="1600" dirty="0"/>
          </a:p>
          <a:p>
            <a:r>
              <a:rPr lang="de-DE" sz="1600" dirty="0"/>
              <a:t>- </a:t>
            </a:r>
            <a:r>
              <a:rPr lang="de-DE" sz="1600" dirty="0" err="1"/>
              <a:t>Cleaning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MS L2 „all </a:t>
            </a:r>
            <a:r>
              <a:rPr lang="de-DE" sz="1600" dirty="0" err="1"/>
              <a:t>other</a:t>
            </a:r>
            <a:r>
              <a:rPr lang="de-DE" sz="1600" dirty="0"/>
              <a:t> Foodservice &amp; Retail</a:t>
            </a:r>
          </a:p>
          <a:p>
            <a:r>
              <a:rPr lang="de-DE" sz="1600" dirty="0"/>
              <a:t>- Potential </a:t>
            </a:r>
            <a:r>
              <a:rPr lang="de-DE" sz="1600" dirty="0" err="1"/>
              <a:t>analysis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/>
              <a:t>main</a:t>
            </a:r>
            <a:r>
              <a:rPr lang="de-DE" sz="1600" dirty="0"/>
              <a:t> </a:t>
            </a:r>
            <a:r>
              <a:rPr lang="de-DE" sz="1600" dirty="0" err="1"/>
              <a:t>regions</a:t>
            </a:r>
            <a:r>
              <a:rPr lang="de-DE" sz="1600" dirty="0"/>
              <a:t> </a:t>
            </a:r>
            <a:r>
              <a:rPr lang="de-DE" sz="1600" dirty="0" err="1"/>
              <a:t>ongoing</a:t>
            </a:r>
            <a:endParaRPr lang="de-DE" sz="1600" dirty="0"/>
          </a:p>
          <a:p>
            <a:r>
              <a:rPr lang="de-DE" sz="1600" dirty="0"/>
              <a:t>- </a:t>
            </a:r>
            <a:r>
              <a:rPr lang="de-DE" sz="1600" dirty="0" err="1"/>
              <a:t>Competitor</a:t>
            </a:r>
            <a:r>
              <a:rPr lang="de-DE" sz="1600" dirty="0"/>
              <a:t> </a:t>
            </a:r>
            <a:r>
              <a:rPr lang="de-DE" sz="1600" dirty="0" err="1"/>
              <a:t>analysis</a:t>
            </a:r>
            <a:r>
              <a:rPr lang="de-DE" sz="1600" dirty="0"/>
              <a:t> </a:t>
            </a:r>
            <a:r>
              <a:rPr lang="de-DE" sz="1600" dirty="0" err="1"/>
              <a:t>ongoing</a:t>
            </a:r>
            <a:endParaRPr lang="de-DE" sz="1600" dirty="0"/>
          </a:p>
          <a:p>
            <a:pPr algn="l"/>
            <a:r>
              <a:rPr lang="de-DE" sz="1600" dirty="0"/>
              <a:t>- BU F&amp;V </a:t>
            </a:r>
            <a:r>
              <a:rPr lang="de-DE" sz="1600" dirty="0" err="1"/>
              <a:t>Packaging</a:t>
            </a:r>
            <a:r>
              <a:rPr lang="de-DE" sz="1600" dirty="0"/>
              <a:t> </a:t>
            </a:r>
            <a:r>
              <a:rPr lang="de-DE" sz="1600" dirty="0" err="1"/>
              <a:t>strategy</a:t>
            </a:r>
            <a:r>
              <a:rPr lang="de-DE" sz="1600" dirty="0"/>
              <a:t> </a:t>
            </a:r>
            <a:r>
              <a:rPr lang="de-DE" sz="1600" dirty="0" err="1"/>
              <a:t>started</a:t>
            </a:r>
            <a:endParaRPr lang="de-DE" sz="1600" dirty="0"/>
          </a:p>
          <a:p>
            <a:pPr algn="l"/>
            <a:r>
              <a:rPr lang="de-DE" sz="1600" dirty="0"/>
              <a:t>- L&amp;I </a:t>
            </a:r>
            <a:r>
              <a:rPr lang="de-DE" sz="1600" dirty="0" err="1"/>
              <a:t>strategy</a:t>
            </a:r>
            <a:r>
              <a:rPr lang="de-DE" sz="1600" dirty="0"/>
              <a:t> </a:t>
            </a:r>
            <a:r>
              <a:rPr lang="de-DE" sz="1600" dirty="0" err="1"/>
              <a:t>implementation</a:t>
            </a:r>
            <a:endParaRPr lang="de-DE" sz="1600" dirty="0"/>
          </a:p>
          <a:p>
            <a:pPr algn="l"/>
            <a:r>
              <a:rPr lang="de-DE" sz="1600" dirty="0"/>
              <a:t>- </a:t>
            </a:r>
            <a:r>
              <a:rPr lang="de-DE" sz="1600" dirty="0" err="1"/>
              <a:t>Preparation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EU </a:t>
            </a:r>
            <a:r>
              <a:rPr lang="de-DE" sz="1600" dirty="0" err="1"/>
              <a:t>sales</a:t>
            </a:r>
            <a:r>
              <a:rPr lang="de-DE" sz="1600" dirty="0"/>
              <a:t> </a:t>
            </a:r>
            <a:r>
              <a:rPr lang="de-DE" sz="1600" dirty="0" err="1"/>
              <a:t>meeting</a:t>
            </a:r>
            <a:endParaRPr lang="de-DE" sz="1600" dirty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F5DAF1FF-CA37-9250-2F9C-A8BD8ECB77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7309" y="0"/>
            <a:ext cx="6049626" cy="7561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5269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© Döhler Group SE">
  <a:themeElements>
    <a:clrScheme name="Döhler">
      <a:dk1>
        <a:srgbClr val="1D1D1F"/>
      </a:dk1>
      <a:lt1>
        <a:srgbClr val="FFFFFF"/>
      </a:lt1>
      <a:dk2>
        <a:srgbClr val="00233E"/>
      </a:dk2>
      <a:lt2>
        <a:srgbClr val="FFFFFF"/>
      </a:lt2>
      <a:accent1>
        <a:srgbClr val="003466"/>
      </a:accent1>
      <a:accent2>
        <a:srgbClr val="09478D"/>
      </a:accent2>
      <a:accent3>
        <a:srgbClr val="4A4C50"/>
      </a:accent3>
      <a:accent4>
        <a:srgbClr val="9598A1"/>
      </a:accent4>
      <a:accent5>
        <a:srgbClr val="C8CBD4"/>
      </a:accent5>
      <a:accent6>
        <a:srgbClr val="F5F5F7"/>
      </a:accent6>
      <a:hlink>
        <a:srgbClr val="2997FF"/>
      </a:hlink>
      <a:folHlink>
        <a:srgbClr val="015CB9"/>
      </a:folHlink>
    </a:clrScheme>
    <a:fontScheme name="DÖHLER - WE BRING IDEAS TO LIFE.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lIns="72000" tIns="72000" rIns="72000" bIns="72000" rtlCol="0" anchor="ctr"/>
      <a:lstStyle>
        <a:defPPr algn="ctr">
          <a:defRPr sz="16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smtClean="0"/>
        </a:defPPr>
      </a:lstStyle>
    </a:txDef>
  </a:objectDefaults>
  <a:extraClrSchemeLst/>
  <a:custClrLst>
    <a:custClr name="Dunkelblau / RGB 0-35-72">
      <a:srgbClr val="002348"/>
    </a:custClr>
    <a:custClr name="Blau / RGB 64-87-122">
      <a:srgbClr val="40577A"/>
    </a:custClr>
    <a:custClr name="Hellblau / RGB 233-239-247">
      <a:srgbClr val="E9EFF7"/>
    </a:custClr>
    <a:custClr name="Graustufen / RGB 64-64-64">
      <a:srgbClr val="404040"/>
    </a:custClr>
    <a:custClr name="Graustufen / RGB 122-122-122">
      <a:srgbClr val="7A7A7A"/>
    </a:custClr>
    <a:custClr name="Graustufen / RGB 204-204-204">
      <a:srgbClr val="CCCCCC"/>
    </a:custClr>
    <a:custClr name="Graustufen / RGB 211-211-211">
      <a:srgbClr val="D3D3D3"/>
    </a:custClr>
    <a:custClr name="Graustufen / RGB 242-242-242">
      <a:srgbClr val="F2F2F2"/>
    </a:custClr>
    <a:custClr name="frei/free">
      <a:srgbClr val="FFFFFF"/>
    </a:custClr>
    <a:custClr name="frei/free">
      <a:srgbClr val="FFFFFF"/>
    </a:custClr>
    <a:custClr name="Nur als Highlightfarbe verwenden - Only using as Highlight color">
      <a:srgbClr val="FF6600"/>
    </a:custClr>
    <a:custClr name="Nur als Highlightfarbe verwenden - Only using as Highlight color">
      <a:srgbClr val="FFCC00"/>
    </a:custClr>
  </a:custClrLst>
  <a:extLst>
    <a:ext uri="{05A4C25C-085E-4340-85A3-A5531E510DB2}">
      <thm15:themeFamily xmlns:thm15="http://schemas.microsoft.com/office/thememl/2012/main" name="220712_DOE_Corporate-Master.pptx" id="{0AD6E9A2-32B4-4CF0-A72C-875996CC782C}" vid="{68F023FB-BCAB-42EA-9AEA-AF3CD994462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20712_DOE_Corporate-Master</Template>
  <TotalTime>0</TotalTime>
  <Words>599</Words>
  <Application>Microsoft Office PowerPoint</Application>
  <PresentationFormat>Custom</PresentationFormat>
  <Paragraphs>372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Calibri</vt:lpstr>
      <vt:lpstr>Courier New</vt:lpstr>
      <vt:lpstr>Tahoma</vt:lpstr>
      <vt:lpstr>Verdana</vt:lpstr>
      <vt:lpstr>© Döhler Group SE</vt:lpstr>
      <vt:lpstr>think-cell Folie</vt:lpstr>
      <vt:lpstr>PowerPoint Presentation</vt:lpstr>
      <vt:lpstr>PowerPoint Presentation</vt:lpstr>
      <vt:lpstr>PowerPoint Presentation</vt:lpstr>
      <vt:lpstr>PowerPoint Presentation</vt:lpstr>
    </vt:vector>
  </TitlesOfParts>
  <Company>Doehler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rach, Lara</dc:creator>
  <dc:description/>
  <cp:lastModifiedBy>Kosilova, Olga</cp:lastModifiedBy>
  <cp:revision>115</cp:revision>
  <cp:lastPrinted>2022-02-16T11:18:03Z</cp:lastPrinted>
  <dcterms:created xsi:type="dcterms:W3CDTF">2022-12-13T11:16:21Z</dcterms:created>
  <dcterms:modified xsi:type="dcterms:W3CDTF">2024-08-13T05:40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resentation">
    <vt:lpwstr>Corporate branding M0221 session</vt:lpwstr>
  </property>
  <property fmtid="{D5CDD505-2E9C-101B-9397-08002B2CF9AE}" pid="3" name="SlideDescription">
    <vt:lpwstr/>
  </property>
  <property fmtid="{D5CDD505-2E9C-101B-9397-08002B2CF9AE}" pid="4" name="MSIP_Label_d75bfda0-71d3-447e-a4d8-bdd8ff136ad9_Enabled">
    <vt:lpwstr>true</vt:lpwstr>
  </property>
  <property fmtid="{D5CDD505-2E9C-101B-9397-08002B2CF9AE}" pid="5" name="MSIP_Label_d75bfda0-71d3-447e-a4d8-bdd8ff136ad9_SetDate">
    <vt:lpwstr>2022-12-13T11:16:21Z</vt:lpwstr>
  </property>
  <property fmtid="{D5CDD505-2E9C-101B-9397-08002B2CF9AE}" pid="6" name="MSIP_Label_d75bfda0-71d3-447e-a4d8-bdd8ff136ad9_Method">
    <vt:lpwstr>Standard</vt:lpwstr>
  </property>
  <property fmtid="{D5CDD505-2E9C-101B-9397-08002B2CF9AE}" pid="7" name="MSIP_Label_d75bfda0-71d3-447e-a4d8-bdd8ff136ad9_Name">
    <vt:lpwstr>Internal</vt:lpwstr>
  </property>
  <property fmtid="{D5CDD505-2E9C-101B-9397-08002B2CF9AE}" pid="8" name="MSIP_Label_d75bfda0-71d3-447e-a4d8-bdd8ff136ad9_SiteId">
    <vt:lpwstr>38e5bc50-ed60-4cb7-83d9-07d94e42f5f8</vt:lpwstr>
  </property>
  <property fmtid="{D5CDD505-2E9C-101B-9397-08002B2CF9AE}" pid="9" name="MSIP_Label_d75bfda0-71d3-447e-a4d8-bdd8ff136ad9_ActionId">
    <vt:lpwstr>f949bfeb-9dde-47e8-828b-5b1efd8c3377</vt:lpwstr>
  </property>
  <property fmtid="{D5CDD505-2E9C-101B-9397-08002B2CF9AE}" pid="10" name="MSIP_Label_d75bfda0-71d3-447e-a4d8-bdd8ff136ad9_ContentBits">
    <vt:lpwstr>0</vt:lpwstr>
  </property>
</Properties>
</file>